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9" r:id="rId4"/>
    <p:sldMasterId id="2147484126" r:id="rId5"/>
    <p:sldMasterId id="2147484171" r:id="rId6"/>
    <p:sldMasterId id="2147484220" r:id="rId7"/>
    <p:sldMasterId id="2147484248" r:id="rId8"/>
  </p:sldMasterIdLst>
  <p:notesMasterIdLst>
    <p:notesMasterId r:id="rId79"/>
  </p:notesMasterIdLst>
  <p:handoutMasterIdLst>
    <p:handoutMasterId r:id="rId80"/>
  </p:handoutMasterIdLst>
  <p:sldIdLst>
    <p:sldId id="1857" r:id="rId9"/>
    <p:sldId id="2076138080" r:id="rId10"/>
    <p:sldId id="2076137868" r:id="rId11"/>
    <p:sldId id="2076138031" r:id="rId12"/>
    <p:sldId id="1615" r:id="rId13"/>
    <p:sldId id="2076137927" r:id="rId14"/>
    <p:sldId id="1617" r:id="rId15"/>
    <p:sldId id="1626" r:id="rId16"/>
    <p:sldId id="10359" r:id="rId17"/>
    <p:sldId id="2076138637" r:id="rId18"/>
    <p:sldId id="2076138635" r:id="rId19"/>
    <p:sldId id="2076137875" r:id="rId20"/>
    <p:sldId id="1619" r:id="rId21"/>
    <p:sldId id="2076137928" r:id="rId22"/>
    <p:sldId id="10389" r:id="rId23"/>
    <p:sldId id="2076138641" r:id="rId24"/>
    <p:sldId id="2076137681" r:id="rId25"/>
    <p:sldId id="2076138638" r:id="rId26"/>
    <p:sldId id="2076138644" r:id="rId27"/>
    <p:sldId id="2076137674" r:id="rId28"/>
    <p:sldId id="2076138645" r:id="rId29"/>
    <p:sldId id="2076138642" r:id="rId30"/>
    <p:sldId id="2076138643" r:id="rId31"/>
    <p:sldId id="2076138648" r:id="rId32"/>
    <p:sldId id="2076138649" r:id="rId33"/>
    <p:sldId id="2076138650" r:id="rId34"/>
    <p:sldId id="2076138651" r:id="rId35"/>
    <p:sldId id="2076138652" r:id="rId36"/>
    <p:sldId id="2076138653" r:id="rId37"/>
    <p:sldId id="2076137657" r:id="rId38"/>
    <p:sldId id="2076137876" r:id="rId39"/>
    <p:sldId id="2076137652" r:id="rId40"/>
    <p:sldId id="2076137658" r:id="rId41"/>
    <p:sldId id="2076137270" r:id="rId42"/>
    <p:sldId id="2076137271" r:id="rId43"/>
    <p:sldId id="2076138019" r:id="rId44"/>
    <p:sldId id="2076138020" r:id="rId45"/>
    <p:sldId id="2076138011" r:id="rId46"/>
    <p:sldId id="2076138021" r:id="rId47"/>
    <p:sldId id="2076138654" r:id="rId48"/>
    <p:sldId id="2076137694" r:id="rId49"/>
    <p:sldId id="1690" r:id="rId50"/>
    <p:sldId id="1691" r:id="rId51"/>
    <p:sldId id="2076137637" r:id="rId52"/>
    <p:sldId id="2076137639" r:id="rId53"/>
    <p:sldId id="2076138655" r:id="rId54"/>
    <p:sldId id="2076137676" r:id="rId55"/>
    <p:sldId id="2076137617" r:id="rId56"/>
    <p:sldId id="2076137618" r:id="rId57"/>
    <p:sldId id="2076138656" r:id="rId58"/>
    <p:sldId id="2076137678" r:id="rId59"/>
    <p:sldId id="2076137627" r:id="rId60"/>
    <p:sldId id="2076137882" r:id="rId61"/>
    <p:sldId id="2076138615" r:id="rId62"/>
    <p:sldId id="2076137624" r:id="rId63"/>
    <p:sldId id="2076137622" r:id="rId64"/>
    <p:sldId id="2076138632" r:id="rId65"/>
    <p:sldId id="2076138624" r:id="rId66"/>
    <p:sldId id="2076138626" r:id="rId67"/>
    <p:sldId id="2076138636" r:id="rId68"/>
    <p:sldId id="10340" r:id="rId69"/>
    <p:sldId id="2076138657" r:id="rId70"/>
    <p:sldId id="2076137680" r:id="rId71"/>
    <p:sldId id="2076137632" r:id="rId72"/>
    <p:sldId id="2076137633" r:id="rId73"/>
    <p:sldId id="2076137634" r:id="rId74"/>
    <p:sldId id="2076138658" r:id="rId75"/>
    <p:sldId id="2076137668" r:id="rId76"/>
    <p:sldId id="2076137641" r:id="rId77"/>
    <p:sldId id="2076138659" r:id="rId7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9D1AD79-2CEC-41D1-BD6F-02ACE5F531A0}">
          <p14:sldIdLst>
            <p14:sldId id="1857"/>
            <p14:sldId id="2076138080"/>
            <p14:sldId id="2076137868"/>
          </p14:sldIdLst>
        </p14:section>
        <p14:section name="Why" id="{286D0194-9F76-461F-ABF5-2E803D18FB5A}">
          <p14:sldIdLst>
            <p14:sldId id="2076138031"/>
            <p14:sldId id="1615"/>
            <p14:sldId id="2076137927"/>
            <p14:sldId id="1617"/>
            <p14:sldId id="1626"/>
          </p14:sldIdLst>
        </p14:section>
        <p14:section name="What" id="{271C6A99-5F47-4858-B3BE-67B8A892DE52}">
          <p14:sldIdLst>
            <p14:sldId id="10359"/>
            <p14:sldId id="2076138637"/>
          </p14:sldIdLst>
        </p14:section>
        <p14:section name="Module start" id="{063E7818-E714-416C-B7F7-953B8D0735CF}">
          <p14:sldIdLst>
            <p14:sldId id="2076138635"/>
          </p14:sldIdLst>
        </p14:section>
        <p14:section name="Where do apps come from" id="{999AA15E-9F24-46D4-87FA-3CBA19E820D0}">
          <p14:sldIdLst>
            <p14:sldId id="2076137875"/>
            <p14:sldId id="1619"/>
            <p14:sldId id="2076137928"/>
            <p14:sldId id="10389"/>
          </p14:sldIdLst>
        </p14:section>
        <p14:section name="Layers of security" id="{37F9E297-45D6-4377-B8BD-4318FC3B9535}">
          <p14:sldIdLst>
            <p14:sldId id="2076138641"/>
            <p14:sldId id="2076137681"/>
            <p14:sldId id="2076138638"/>
            <p14:sldId id="2076138644"/>
            <p14:sldId id="2076137674"/>
            <p14:sldId id="2076138645"/>
            <p14:sldId id="2076138642"/>
            <p14:sldId id="2076138643"/>
            <p14:sldId id="2076138648"/>
            <p14:sldId id="2076138649"/>
            <p14:sldId id="2076138650"/>
            <p14:sldId id="2076138651"/>
            <p14:sldId id="2076138652"/>
            <p14:sldId id="2076138653"/>
            <p14:sldId id="2076137657"/>
            <p14:sldId id="2076137876"/>
            <p14:sldId id="2076137652"/>
            <p14:sldId id="2076137658"/>
            <p14:sldId id="2076137270"/>
            <p14:sldId id="2076137271"/>
            <p14:sldId id="2076138019"/>
            <p14:sldId id="2076138020"/>
            <p14:sldId id="2076138011"/>
            <p14:sldId id="2076138021"/>
            <p14:sldId id="2076138654"/>
            <p14:sldId id="2076137694"/>
            <p14:sldId id="1690"/>
            <p14:sldId id="1691"/>
            <p14:sldId id="2076137637"/>
            <p14:sldId id="2076137639"/>
            <p14:sldId id="2076138655"/>
            <p14:sldId id="2076137676"/>
            <p14:sldId id="2076137617"/>
            <p14:sldId id="2076137618"/>
            <p14:sldId id="2076138656"/>
            <p14:sldId id="2076137678"/>
            <p14:sldId id="2076137627"/>
            <p14:sldId id="2076137882"/>
            <p14:sldId id="2076138615"/>
            <p14:sldId id="2076137624"/>
            <p14:sldId id="2076137622"/>
            <p14:sldId id="2076138632"/>
            <p14:sldId id="2076138624"/>
            <p14:sldId id="2076138626"/>
            <p14:sldId id="2076138636"/>
            <p14:sldId id="10340"/>
            <p14:sldId id="2076138657"/>
            <p14:sldId id="2076137680"/>
            <p14:sldId id="2076137632"/>
            <p14:sldId id="2076137633"/>
            <p14:sldId id="2076137634"/>
            <p14:sldId id="2076138658"/>
            <p14:sldId id="2076137668"/>
            <p14:sldId id="2076137641"/>
            <p14:sldId id="2076138659"/>
          </p14:sldIdLst>
        </p14:section>
        <p14:section name="Appendix" id="{3EC7850B-ABC5-4E16-8CA5-8AB98D47B4C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karose" initials="v" lastIdx="6" clrIdx="0"/>
  <p:cmAuthor id="1" name="kghaffari" initials="k" lastIdx="3" clrIdx="1"/>
  <p:cmAuthor id="2" name="awatson" initials="aw" lastIdx="5" clrIdx="2"/>
  <p:cmAuthor id="3" name="John" initials="J" lastIdx="2" clrIdx="3"/>
  <p:cmAuthor id="4" name="David Yack" initials="DY" lastIdx="2" clrIdx="4">
    <p:extLst>
      <p:ext uri="{19B8F6BF-5375-455C-9EA6-DF929625EA0E}">
        <p15:presenceInfo xmlns:p15="http://schemas.microsoft.com/office/powerpoint/2012/main" userId="David Yack" providerId="None"/>
      </p:ext>
    </p:extLst>
  </p:cmAuthor>
  <p:cmAuthor id="5" name="Britta Scampton" initials="BS" lastIdx="2" clrIdx="5">
    <p:extLst>
      <p:ext uri="{19B8F6BF-5375-455C-9EA6-DF929625EA0E}">
        <p15:presenceInfo xmlns:p15="http://schemas.microsoft.com/office/powerpoint/2012/main" userId="S-1-5-21-1659004503-1364589140-1801674531-5439" providerId="AD"/>
      </p:ext>
    </p:extLst>
  </p:cmAuthor>
  <p:cmAuthor id="6" name="David Yack (Snapographs)" initials="DY(" lastIdx="1" clrIdx="6">
    <p:extLst>
      <p:ext uri="{19B8F6BF-5375-455C-9EA6-DF929625EA0E}">
        <p15:presenceInfo xmlns:p15="http://schemas.microsoft.com/office/powerpoint/2012/main" userId="David Yack (Snapographs)" providerId="None"/>
      </p:ext>
    </p:extLst>
  </p:cmAuthor>
  <p:cmAuthor id="7" name="George Doubinski (SOLUTIONS NET PTY LTD)" initials="GD(NPL" lastIdx="29" clrIdx="7">
    <p:extLst>
      <p:ext uri="{19B8F6BF-5375-455C-9EA6-DF929625EA0E}">
        <p15:presenceInfo xmlns:p15="http://schemas.microsoft.com/office/powerpoint/2012/main" userId="S-1-5-21-778427548-827394404-3517438508-1001" providerId="AD"/>
      </p:ext>
    </p:extLst>
  </p:cmAuthor>
  <p:cmAuthor id="8" name="Julie Yack" initials="JY" lastIdx="4" clrIdx="8">
    <p:extLst>
      <p:ext uri="{19B8F6BF-5375-455C-9EA6-DF929625EA0E}">
        <p15:presenceInfo xmlns:p15="http://schemas.microsoft.com/office/powerpoint/2012/main" userId="69a26d0b1d12c0a5" providerId="Windows Live"/>
      </p:ext>
    </p:extLst>
  </p:cmAuthor>
  <p:cmAuthor id="9" name="Dave Yack (COLORADO TECHNOLOGY CONSULTANT)" initials="DC" lastIdx="1" clrIdx="9">
    <p:extLst>
      <p:ext uri="{19B8F6BF-5375-455C-9EA6-DF929625EA0E}">
        <p15:presenceInfo xmlns:p15="http://schemas.microsoft.com/office/powerpoint/2012/main" userId="S::v-dyack@microsoft.com::0d7b57c5-c98e-4ec2-a6bb-07d22616a301" providerId="AD"/>
      </p:ext>
    </p:extLst>
  </p:cmAuthor>
  <p:cmAuthor id="10" name="James Oleinik" initials="JO" lastIdx="1" clrIdx="10">
    <p:extLst>
      <p:ext uri="{19B8F6BF-5375-455C-9EA6-DF929625EA0E}">
        <p15:presenceInfo xmlns:p15="http://schemas.microsoft.com/office/powerpoint/2012/main" userId="S::jamesol@microsoft.com::f60ccf6f-7579-4f92-968b-2920473c966b" providerId="AD"/>
      </p:ext>
    </p:extLst>
  </p:cmAuthor>
  <p:cmAuthor id="11" name="Carsten Groth" initials="CG" lastIdx="1" clrIdx="11">
    <p:extLst>
      <p:ext uri="{19B8F6BF-5375-455C-9EA6-DF929625EA0E}">
        <p15:presenceInfo xmlns:p15="http://schemas.microsoft.com/office/powerpoint/2012/main" userId="S::cagroth@microsoft.com::210ddf52-2a52-4899-9aa5-428cbab2f06c" providerId="AD"/>
      </p:ext>
    </p:extLst>
  </p:cmAuthor>
  <p:cmAuthor id="12" name="Manuela Pichler" initials="MP" lastIdx="20" clrIdx="12">
    <p:extLst>
      <p:ext uri="{19B8F6BF-5375-455C-9EA6-DF929625EA0E}">
        <p15:presenceInfo xmlns:p15="http://schemas.microsoft.com/office/powerpoint/2012/main" userId="S::mapichle@microsoft.com::07a841c1-49c8-4352-a8c3-3a0d96cf9a08" providerId="AD"/>
      </p:ext>
    </p:extLst>
  </p:cmAuthor>
  <p:cmAuthor id="13" name="Dave Yack" initials="DY" lastIdx="9" clrIdx="13">
    <p:extLst>
      <p:ext uri="{19B8F6BF-5375-455C-9EA6-DF929625EA0E}">
        <p15:presenceInfo xmlns:p15="http://schemas.microsoft.com/office/powerpoint/2012/main" userId="Dave Yack" providerId="None"/>
      </p:ext>
    </p:extLst>
  </p:cmAuthor>
  <p:cmAuthor id="14" name="Dave Yack (COLORADO TECHNOLOGY CONSULTANT)" initials="DY(TC" lastIdx="2" clrIdx="14">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71BC"/>
    <a:srgbClr val="5C005C"/>
    <a:srgbClr val="0078D4"/>
    <a:srgbClr val="752874"/>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41F924-3F24-4714-990E-9A8C08AAED65}" v="70" dt="2020-11-27T15:02:00.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1765" autoAdjust="0"/>
  </p:normalViewPr>
  <p:slideViewPr>
    <p:cSldViewPr snapToGrid="0">
      <p:cViewPr varScale="1">
        <p:scale>
          <a:sx n="95" d="100"/>
          <a:sy n="95" d="100"/>
        </p:scale>
        <p:origin x="1018" y="86"/>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4632" y="10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notesMaster" Target="notesMasters/notesMaster1.xml"/><Relationship Id="rId87"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presProps" Target="presProps.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commentAuthors" Target="commentAuthors.xml"/><Relationship Id="rId86"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uela Pichler" userId="07a841c1-49c8-4352-a8c3-3a0d96cf9a08" providerId="ADAL" clId="{8C542BAC-50C6-4E48-8856-9C37FE9DF88F}"/>
    <pc:docChg chg="undo custSel addSld delSld modSld sldOrd modSection">
      <pc:chgData name="Manuela Pichler" userId="07a841c1-49c8-4352-a8c3-3a0d96cf9a08" providerId="ADAL" clId="{8C542BAC-50C6-4E48-8856-9C37FE9DF88F}" dt="2019-10-09T09:40:43.753" v="141" actId="2056"/>
      <pc:docMkLst>
        <pc:docMk/>
      </pc:docMkLst>
      <pc:sldChg chg="mod modShow">
        <pc:chgData name="Manuela Pichler" userId="07a841c1-49c8-4352-a8c3-3a0d96cf9a08" providerId="ADAL" clId="{8C542BAC-50C6-4E48-8856-9C37FE9DF88F}" dt="2019-10-08T15:41:13.584" v="78" actId="729"/>
        <pc:sldMkLst>
          <pc:docMk/>
          <pc:sldMk cId="1834007649" sldId="285"/>
        </pc:sldMkLst>
      </pc:sldChg>
      <pc:sldChg chg="add del mod modShow">
        <pc:chgData name="Manuela Pichler" userId="07a841c1-49c8-4352-a8c3-3a0d96cf9a08" providerId="ADAL" clId="{8C542BAC-50C6-4E48-8856-9C37FE9DF88F}" dt="2019-10-08T15:20:05.843" v="15" actId="729"/>
        <pc:sldMkLst>
          <pc:docMk/>
          <pc:sldMk cId="4018248340" sldId="709"/>
        </pc:sldMkLst>
      </pc:sldChg>
      <pc:sldChg chg="mod modShow">
        <pc:chgData name="Manuela Pichler" userId="07a841c1-49c8-4352-a8c3-3a0d96cf9a08" providerId="ADAL" clId="{8C542BAC-50C6-4E48-8856-9C37FE9DF88F}" dt="2019-10-08T15:54:00.201" v="100" actId="729"/>
        <pc:sldMkLst>
          <pc:docMk/>
          <pc:sldMk cId="3993327255" sldId="3842"/>
        </pc:sldMkLst>
      </pc:sldChg>
      <pc:sldChg chg="ord">
        <pc:chgData name="Manuela Pichler" userId="07a841c1-49c8-4352-a8c3-3a0d96cf9a08" providerId="ADAL" clId="{8C542BAC-50C6-4E48-8856-9C37FE9DF88F}" dt="2019-10-08T15:54:29.354" v="102"/>
        <pc:sldMkLst>
          <pc:docMk/>
          <pc:sldMk cId="1103579216" sldId="10339"/>
        </pc:sldMkLst>
      </pc:sldChg>
      <pc:sldChg chg="modSp">
        <pc:chgData name="Manuela Pichler" userId="07a841c1-49c8-4352-a8c3-3a0d96cf9a08" providerId="ADAL" clId="{8C542BAC-50C6-4E48-8856-9C37FE9DF88F}" dt="2019-10-09T09:31:03.079" v="133" actId="948"/>
        <pc:sldMkLst>
          <pc:docMk/>
          <pc:sldMk cId="4139367970" sldId="10342"/>
        </pc:sldMkLst>
        <pc:spChg chg="mod">
          <ac:chgData name="Manuela Pichler" userId="07a841c1-49c8-4352-a8c3-3a0d96cf9a08" providerId="ADAL" clId="{8C542BAC-50C6-4E48-8856-9C37FE9DF88F}" dt="2019-10-09T09:31:03.079" v="133" actId="948"/>
          <ac:spMkLst>
            <pc:docMk/>
            <pc:sldMk cId="4139367970" sldId="10342"/>
            <ac:spMk id="3" creationId="{F8EE09FF-EFB1-47DE-B0D9-E6FC94ACEEC6}"/>
          </ac:spMkLst>
        </pc:spChg>
      </pc:sldChg>
      <pc:sldChg chg="addCm modCm">
        <pc:chgData name="Manuela Pichler" userId="07a841c1-49c8-4352-a8c3-3a0d96cf9a08" providerId="ADAL" clId="{8C542BAC-50C6-4E48-8856-9C37FE9DF88F}" dt="2019-10-08T15:52:15.558" v="88" actId="2056"/>
        <pc:sldMkLst>
          <pc:docMk/>
          <pc:sldMk cId="2138284134" sldId="10348"/>
        </pc:sldMkLst>
      </pc:sldChg>
      <pc:sldChg chg="addCm modCm">
        <pc:chgData name="Manuela Pichler" userId="07a841c1-49c8-4352-a8c3-3a0d96cf9a08" providerId="ADAL" clId="{8C542BAC-50C6-4E48-8856-9C37FE9DF88F}" dt="2019-10-08T15:28:38.932" v="76" actId="2056"/>
        <pc:sldMkLst>
          <pc:docMk/>
          <pc:sldMk cId="1752717387" sldId="10389"/>
        </pc:sldMkLst>
      </pc:sldChg>
      <pc:sldChg chg="delSp modSp">
        <pc:chgData name="Manuela Pichler" userId="07a841c1-49c8-4352-a8c3-3a0d96cf9a08" providerId="ADAL" clId="{8C542BAC-50C6-4E48-8856-9C37FE9DF88F}" dt="2019-10-08T15:21:04.821" v="19" actId="1076"/>
        <pc:sldMkLst>
          <pc:docMk/>
          <pc:sldMk cId="2776419609" sldId="11157"/>
        </pc:sldMkLst>
        <pc:picChg chg="mod">
          <ac:chgData name="Manuela Pichler" userId="07a841c1-49c8-4352-a8c3-3a0d96cf9a08" providerId="ADAL" clId="{8C542BAC-50C6-4E48-8856-9C37FE9DF88F}" dt="2019-10-08T15:21:04.821" v="19" actId="1076"/>
          <ac:picMkLst>
            <pc:docMk/>
            <pc:sldMk cId="2776419609" sldId="11157"/>
            <ac:picMk id="6" creationId="{B3BFF23D-73F3-49AC-826B-D51E0ACF5243}"/>
          </ac:picMkLst>
        </pc:picChg>
        <pc:picChg chg="del">
          <ac:chgData name="Manuela Pichler" userId="07a841c1-49c8-4352-a8c3-3a0d96cf9a08" providerId="ADAL" clId="{8C542BAC-50C6-4E48-8856-9C37FE9DF88F}" dt="2019-10-08T15:20:58.944" v="18" actId="478"/>
          <ac:picMkLst>
            <pc:docMk/>
            <pc:sldMk cId="2776419609" sldId="11157"/>
            <ac:picMk id="10" creationId="{BAF5D001-E11E-4A47-83CA-1D042CD7698A}"/>
          </ac:picMkLst>
        </pc:picChg>
      </pc:sldChg>
      <pc:sldChg chg="delSp modSp">
        <pc:chgData name="Manuela Pichler" userId="07a841c1-49c8-4352-a8c3-3a0d96cf9a08" providerId="ADAL" clId="{8C542BAC-50C6-4E48-8856-9C37FE9DF88F}" dt="2019-10-08T15:25:13.359" v="73" actId="1076"/>
        <pc:sldMkLst>
          <pc:docMk/>
          <pc:sldMk cId="2617827122" sldId="11158"/>
        </pc:sldMkLst>
        <pc:grpChg chg="mod">
          <ac:chgData name="Manuela Pichler" userId="07a841c1-49c8-4352-a8c3-3a0d96cf9a08" providerId="ADAL" clId="{8C542BAC-50C6-4E48-8856-9C37FE9DF88F}" dt="2019-10-08T15:25:10.283" v="72" actId="1076"/>
          <ac:grpSpMkLst>
            <pc:docMk/>
            <pc:sldMk cId="2617827122" sldId="11158"/>
            <ac:grpSpMk id="22" creationId="{7DB0C91B-BB60-46F5-818D-2CEAC6CF3A8C}"/>
          </ac:grpSpMkLst>
        </pc:grpChg>
        <pc:picChg chg="mod">
          <ac:chgData name="Manuela Pichler" userId="07a841c1-49c8-4352-a8c3-3a0d96cf9a08" providerId="ADAL" clId="{8C542BAC-50C6-4E48-8856-9C37FE9DF88F}" dt="2019-10-08T15:25:13.359" v="73" actId="1076"/>
          <ac:picMkLst>
            <pc:docMk/>
            <pc:sldMk cId="2617827122" sldId="11158"/>
            <ac:picMk id="15" creationId="{4AF8EE85-DD79-49A6-9F6A-98D7FCEE2090}"/>
          </ac:picMkLst>
        </pc:picChg>
        <pc:picChg chg="del">
          <ac:chgData name="Manuela Pichler" userId="07a841c1-49c8-4352-a8c3-3a0d96cf9a08" providerId="ADAL" clId="{8C542BAC-50C6-4E48-8856-9C37FE9DF88F}" dt="2019-10-08T15:25:06.583" v="70" actId="478"/>
          <ac:picMkLst>
            <pc:docMk/>
            <pc:sldMk cId="2617827122" sldId="11158"/>
            <ac:picMk id="20" creationId="{6FFF87D1-07FE-4219-B566-03F004051D52}"/>
          </ac:picMkLst>
        </pc:picChg>
      </pc:sldChg>
      <pc:sldChg chg="delSp modSp addCm modCm">
        <pc:chgData name="Manuela Pichler" userId="07a841c1-49c8-4352-a8c3-3a0d96cf9a08" providerId="ADAL" clId="{8C542BAC-50C6-4E48-8856-9C37FE9DF88F}" dt="2019-10-09T09:28:50.596" v="105" actId="2056"/>
        <pc:sldMkLst>
          <pc:docMk/>
          <pc:sldMk cId="2990651474" sldId="2076136434"/>
        </pc:sldMkLst>
        <pc:picChg chg="mod">
          <ac:chgData name="Manuela Pichler" userId="07a841c1-49c8-4352-a8c3-3a0d96cf9a08" providerId="ADAL" clId="{8C542BAC-50C6-4E48-8856-9C37FE9DF88F}" dt="2019-10-08T15:20:53.831" v="17" actId="1076"/>
          <ac:picMkLst>
            <pc:docMk/>
            <pc:sldMk cId="2990651474" sldId="2076136434"/>
            <ac:picMk id="6" creationId="{B3BFF23D-73F3-49AC-826B-D51E0ACF5243}"/>
          </ac:picMkLst>
        </pc:picChg>
        <pc:picChg chg="del">
          <ac:chgData name="Manuela Pichler" userId="07a841c1-49c8-4352-a8c3-3a0d96cf9a08" providerId="ADAL" clId="{8C542BAC-50C6-4E48-8856-9C37FE9DF88F}" dt="2019-10-08T15:20:47.852" v="16" actId="478"/>
          <ac:picMkLst>
            <pc:docMk/>
            <pc:sldMk cId="2990651474" sldId="2076136434"/>
            <ac:picMk id="10" creationId="{BAF5D001-E11E-4A47-83CA-1D042CD7698A}"/>
          </ac:picMkLst>
        </pc:picChg>
      </pc:sldChg>
      <pc:sldChg chg="addCm modCm">
        <pc:chgData name="Manuela Pichler" userId="07a841c1-49c8-4352-a8c3-3a0d96cf9a08" providerId="ADAL" clId="{8C542BAC-50C6-4E48-8856-9C37FE9DF88F}" dt="2019-10-08T15:22:05.137" v="21" actId="2056"/>
        <pc:sldMkLst>
          <pc:docMk/>
          <pc:sldMk cId="2251549637" sldId="2076136437"/>
        </pc:sldMkLst>
      </pc:sldChg>
      <pc:sldChg chg="modSp">
        <pc:chgData name="Manuela Pichler" userId="07a841c1-49c8-4352-a8c3-3a0d96cf9a08" providerId="ADAL" clId="{8C542BAC-50C6-4E48-8856-9C37FE9DF88F}" dt="2019-10-09T09:29:22.860" v="130" actId="20577"/>
        <pc:sldMkLst>
          <pc:docMk/>
          <pc:sldMk cId="2729454466" sldId="2076136438"/>
        </pc:sldMkLst>
        <pc:spChg chg="mod">
          <ac:chgData name="Manuela Pichler" userId="07a841c1-49c8-4352-a8c3-3a0d96cf9a08" providerId="ADAL" clId="{8C542BAC-50C6-4E48-8856-9C37FE9DF88F}" dt="2019-10-09T09:29:22.860" v="130" actId="20577"/>
          <ac:spMkLst>
            <pc:docMk/>
            <pc:sldMk cId="2729454466" sldId="2076136438"/>
            <ac:spMk id="7" creationId="{633B6EC5-6254-431E-B2C3-E7E711128741}"/>
          </ac:spMkLst>
        </pc:spChg>
        <pc:spChg chg="mod">
          <ac:chgData name="Manuela Pichler" userId="07a841c1-49c8-4352-a8c3-3a0d96cf9a08" providerId="ADAL" clId="{8C542BAC-50C6-4E48-8856-9C37FE9DF88F}" dt="2019-10-08T15:22:17.476" v="27" actId="20577"/>
          <ac:spMkLst>
            <pc:docMk/>
            <pc:sldMk cId="2729454466" sldId="2076136438"/>
            <ac:spMk id="13" creationId="{1BAAEA15-0212-4009-8100-4201453EC1D9}"/>
          </ac:spMkLst>
        </pc:spChg>
      </pc:sldChg>
      <pc:sldChg chg="add addCm modCm">
        <pc:chgData name="Manuela Pichler" userId="07a841c1-49c8-4352-a8c3-3a0d96cf9a08" providerId="ADAL" clId="{8C542BAC-50C6-4E48-8856-9C37FE9DF88F}" dt="2019-10-08T15:43:44.331" v="84" actId="2056"/>
        <pc:sldMkLst>
          <pc:docMk/>
          <pc:sldMk cId="81794600" sldId="2076136444"/>
        </pc:sldMkLst>
      </pc:sldChg>
      <pc:sldChg chg="modSp add ord addCm delCm modCm">
        <pc:chgData name="Manuela Pichler" userId="07a841c1-49c8-4352-a8c3-3a0d96cf9a08" providerId="ADAL" clId="{8C542BAC-50C6-4E48-8856-9C37FE9DF88F}" dt="2019-10-08T15:43:48.723" v="86" actId="2056"/>
        <pc:sldMkLst>
          <pc:docMk/>
          <pc:sldMk cId="2232600153" sldId="2076136445"/>
        </pc:sldMkLst>
        <pc:spChg chg="mod">
          <ac:chgData name="Manuela Pichler" userId="07a841c1-49c8-4352-a8c3-3a0d96cf9a08" providerId="ADAL" clId="{8C542BAC-50C6-4E48-8856-9C37FE9DF88F}" dt="2019-10-08T15:41:22.960" v="79" actId="14100"/>
          <ac:spMkLst>
            <pc:docMk/>
            <pc:sldMk cId="2232600153" sldId="2076136445"/>
            <ac:spMk id="5" creationId="{07325521-F7D7-4501-922F-23836D739997}"/>
          </ac:spMkLst>
        </pc:spChg>
      </pc:sldChg>
      <pc:sldChg chg="modSp add ord">
        <pc:chgData name="Manuela Pichler" userId="07a841c1-49c8-4352-a8c3-3a0d96cf9a08" providerId="ADAL" clId="{8C542BAC-50C6-4E48-8856-9C37FE9DF88F}" dt="2019-10-08T15:53:47.345" v="95" actId="404"/>
        <pc:sldMkLst>
          <pc:docMk/>
          <pc:sldMk cId="3071676350" sldId="2076136449"/>
        </pc:sldMkLst>
        <pc:spChg chg="mod">
          <ac:chgData name="Manuela Pichler" userId="07a841c1-49c8-4352-a8c3-3a0d96cf9a08" providerId="ADAL" clId="{8C542BAC-50C6-4E48-8856-9C37FE9DF88F}" dt="2019-10-08T15:53:47.345" v="95" actId="404"/>
          <ac:spMkLst>
            <pc:docMk/>
            <pc:sldMk cId="3071676350" sldId="2076136449"/>
            <ac:spMk id="2" creationId="{D32FBBF4-014E-4415-8B28-BEE8065C927D}"/>
          </ac:spMkLst>
        </pc:spChg>
        <pc:spChg chg="mod">
          <ac:chgData name="Manuela Pichler" userId="07a841c1-49c8-4352-a8c3-3a0d96cf9a08" providerId="ADAL" clId="{8C542BAC-50C6-4E48-8856-9C37FE9DF88F}" dt="2019-10-08T15:53:39.265" v="93" actId="1076"/>
          <ac:spMkLst>
            <pc:docMk/>
            <pc:sldMk cId="3071676350" sldId="2076136449"/>
            <ac:spMk id="3" creationId="{1656B400-F4EB-4830-B6FD-1F44A924A145}"/>
          </ac:spMkLst>
        </pc:spChg>
      </pc:sldChg>
      <pc:sldChg chg="modSp add ord">
        <pc:chgData name="Manuela Pichler" userId="07a841c1-49c8-4352-a8c3-3a0d96cf9a08" providerId="ADAL" clId="{8C542BAC-50C6-4E48-8856-9C37FE9DF88F}" dt="2019-10-08T15:53:52.401" v="97" actId="404"/>
        <pc:sldMkLst>
          <pc:docMk/>
          <pc:sldMk cId="1263312216" sldId="2076136454"/>
        </pc:sldMkLst>
        <pc:spChg chg="mod">
          <ac:chgData name="Manuela Pichler" userId="07a841c1-49c8-4352-a8c3-3a0d96cf9a08" providerId="ADAL" clId="{8C542BAC-50C6-4E48-8856-9C37FE9DF88F}" dt="2019-10-08T15:53:52.401" v="97" actId="404"/>
          <ac:spMkLst>
            <pc:docMk/>
            <pc:sldMk cId="1263312216" sldId="2076136454"/>
            <ac:spMk id="2" creationId="{D32FBBF4-014E-4415-8B28-BEE8065C927D}"/>
          </ac:spMkLst>
        </pc:spChg>
      </pc:sldChg>
      <pc:sldChg chg="modSp add ord">
        <pc:chgData name="Manuela Pichler" userId="07a841c1-49c8-4352-a8c3-3a0d96cf9a08" providerId="ADAL" clId="{8C542BAC-50C6-4E48-8856-9C37FE9DF88F}" dt="2019-10-08T15:53:56.464" v="99" actId="404"/>
        <pc:sldMkLst>
          <pc:docMk/>
          <pc:sldMk cId="1790459841" sldId="2076136455"/>
        </pc:sldMkLst>
        <pc:spChg chg="mod">
          <ac:chgData name="Manuela Pichler" userId="07a841c1-49c8-4352-a8c3-3a0d96cf9a08" providerId="ADAL" clId="{8C542BAC-50C6-4E48-8856-9C37FE9DF88F}" dt="2019-10-08T15:53:56.464" v="99" actId="404"/>
          <ac:spMkLst>
            <pc:docMk/>
            <pc:sldMk cId="1790459841" sldId="2076136455"/>
            <ac:spMk id="2" creationId="{D32FBBF4-014E-4415-8B28-BEE8065C927D}"/>
          </ac:spMkLst>
        </pc:spChg>
      </pc:sldChg>
      <pc:sldChg chg="add ord">
        <pc:chgData name="Manuela Pichler" userId="07a841c1-49c8-4352-a8c3-3a0d96cf9a08" providerId="ADAL" clId="{8C542BAC-50C6-4E48-8856-9C37FE9DF88F}" dt="2019-10-08T15:53:23.877" v="91"/>
        <pc:sldMkLst>
          <pc:docMk/>
          <pc:sldMk cId="4094586572" sldId="2076136525"/>
        </pc:sldMkLst>
      </pc:sldChg>
      <pc:sldChg chg="add mod setBg modShow addCm modCm">
        <pc:chgData name="Manuela Pichler" userId="07a841c1-49c8-4352-a8c3-3a0d96cf9a08" providerId="ADAL" clId="{8C542BAC-50C6-4E48-8856-9C37FE9DF88F}" dt="2019-10-09T09:40:43.753" v="141" actId="2056"/>
        <pc:sldMkLst>
          <pc:docMk/>
          <pc:sldMk cId="1114168887" sldId="2076136526"/>
        </pc:sldMkLst>
      </pc:sldChg>
      <pc:sldMasterChg chg="addSldLayout delSldLayout">
        <pc:chgData name="Manuela Pichler" userId="07a841c1-49c8-4352-a8c3-3a0d96cf9a08" providerId="ADAL" clId="{8C542BAC-50C6-4E48-8856-9C37FE9DF88F}" dt="2019-10-08T15:20:01.142" v="14" actId="47"/>
        <pc:sldMasterMkLst>
          <pc:docMk/>
          <pc:sldMasterMk cId="2644651193" sldId="2147483744"/>
        </pc:sldMasterMkLst>
      </pc:sldMasterChg>
    </pc:docChg>
  </pc:docChgLst>
  <pc:docChgLst>
    <pc:chgData name="Manuela Pichler" userId="07a841c1-49c8-4352-a8c3-3a0d96cf9a08" providerId="ADAL" clId="{1EAA7B45-6CE7-4967-938F-7B0C880126B8}"/>
    <pc:docChg chg="modSld">
      <pc:chgData name="Manuela Pichler" userId="07a841c1-49c8-4352-a8c3-3a0d96cf9a08" providerId="ADAL" clId="{1EAA7B45-6CE7-4967-938F-7B0C880126B8}" dt="2020-02-28T09:16:09.423" v="0" actId="729"/>
      <pc:docMkLst>
        <pc:docMk/>
      </pc:docMkLst>
      <pc:sldChg chg="mod modShow">
        <pc:chgData name="Manuela Pichler" userId="07a841c1-49c8-4352-a8c3-3a0d96cf9a08" providerId="ADAL" clId="{1EAA7B45-6CE7-4967-938F-7B0C880126B8}" dt="2020-02-28T09:16:09.423" v="0" actId="729"/>
        <pc:sldMkLst>
          <pc:docMk/>
          <pc:sldMk cId="1028096835" sldId="329"/>
        </pc:sldMkLst>
      </pc:sldChg>
      <pc:sldChg chg="mod modShow">
        <pc:chgData name="Manuela Pichler" userId="07a841c1-49c8-4352-a8c3-3a0d96cf9a08" providerId="ADAL" clId="{1EAA7B45-6CE7-4967-938F-7B0C880126B8}" dt="2020-02-28T09:16:09.423" v="0" actId="729"/>
        <pc:sldMkLst>
          <pc:docMk/>
          <pc:sldMk cId="606940257" sldId="423"/>
        </pc:sldMkLst>
      </pc:sldChg>
    </pc:docChg>
  </pc:docChgLst>
  <pc:docChgLst>
    <pc:chgData name="Manuela Pichler" userId="S::mapichle@microsoft.com::07a841c1-49c8-4352-a8c3-3a0d96cf9a08" providerId="AD" clId="Web-{5C3D1419-3A52-451D-9346-D5372BA65AAE}"/>
    <pc:docChg chg="">
      <pc:chgData name="Manuela Pichler" userId="S::mapichle@microsoft.com::07a841c1-49c8-4352-a8c3-3a0d96cf9a08" providerId="AD" clId="Web-{5C3D1419-3A52-451D-9346-D5372BA65AAE}" dt="2019-10-22T18:53:29.352" v="0"/>
      <pc:docMkLst>
        <pc:docMk/>
      </pc:docMkLst>
    </pc:docChg>
  </pc:docChgLst>
  <pc:docChgLst>
    <pc:chgData name="Manuela Pichler" userId="07a841c1-49c8-4352-a8c3-3a0d96cf9a08" providerId="ADAL" clId="{99A247F8-4815-41AC-908E-4476590C5C35}"/>
    <pc:docChg chg="undo custSel addSld delSld modSld modSection">
      <pc:chgData name="Manuela Pichler" userId="07a841c1-49c8-4352-a8c3-3a0d96cf9a08" providerId="ADAL" clId="{99A247F8-4815-41AC-908E-4476590C5C35}" dt="2019-10-22T18:52:22.661" v="263" actId="2056"/>
      <pc:docMkLst>
        <pc:docMk/>
      </pc:docMkLst>
      <pc:sldChg chg="add">
        <pc:chgData name="Manuela Pichler" userId="07a841c1-49c8-4352-a8c3-3a0d96cf9a08" providerId="ADAL" clId="{99A247F8-4815-41AC-908E-4476590C5C35}" dt="2019-10-22T16:05:47.599" v="30"/>
        <pc:sldMkLst>
          <pc:docMk/>
          <pc:sldMk cId="1549337867" sldId="276"/>
        </pc:sldMkLst>
      </pc:sldChg>
      <pc:sldChg chg="delCm">
        <pc:chgData name="Manuela Pichler" userId="07a841c1-49c8-4352-a8c3-3a0d96cf9a08" providerId="ADAL" clId="{99A247F8-4815-41AC-908E-4476590C5C35}" dt="2019-10-22T16:28:47.892" v="166" actId="1592"/>
        <pc:sldMkLst>
          <pc:docMk/>
          <pc:sldMk cId="2138284134" sldId="10348"/>
        </pc:sldMkLst>
      </pc:sldChg>
      <pc:sldChg chg="addSp delSp modSp addCm delCm modCm">
        <pc:chgData name="Manuela Pichler" userId="07a841c1-49c8-4352-a8c3-3a0d96cf9a08" providerId="ADAL" clId="{99A247F8-4815-41AC-908E-4476590C5C35}" dt="2019-10-22T16:22:07.872" v="156" actId="1592"/>
        <pc:sldMkLst>
          <pc:docMk/>
          <pc:sldMk cId="2567372822" sldId="10370"/>
        </pc:sldMkLst>
        <pc:spChg chg="mod">
          <ac:chgData name="Manuela Pichler" userId="07a841c1-49c8-4352-a8c3-3a0d96cf9a08" providerId="ADAL" clId="{99A247F8-4815-41AC-908E-4476590C5C35}" dt="2019-10-22T16:17:22.966" v="132" actId="20577"/>
          <ac:spMkLst>
            <pc:docMk/>
            <pc:sldMk cId="2567372822" sldId="10370"/>
            <ac:spMk id="8" creationId="{C59A5821-0774-4945-8C15-07984AC2DC4F}"/>
          </ac:spMkLst>
        </pc:spChg>
        <pc:picChg chg="del">
          <ac:chgData name="Manuela Pichler" userId="07a841c1-49c8-4352-a8c3-3a0d96cf9a08" providerId="ADAL" clId="{99A247F8-4815-41AC-908E-4476590C5C35}" dt="2019-10-22T16:16:37.344" v="95" actId="478"/>
          <ac:picMkLst>
            <pc:docMk/>
            <pc:sldMk cId="2567372822" sldId="10370"/>
            <ac:picMk id="3" creationId="{68B23526-8053-47A4-8EF8-8BFF59CA840B}"/>
          </ac:picMkLst>
        </pc:picChg>
        <pc:picChg chg="add mod">
          <ac:chgData name="Manuela Pichler" userId="07a841c1-49c8-4352-a8c3-3a0d96cf9a08" providerId="ADAL" clId="{99A247F8-4815-41AC-908E-4476590C5C35}" dt="2019-10-22T16:17:51.542" v="138" actId="1076"/>
          <ac:picMkLst>
            <pc:docMk/>
            <pc:sldMk cId="2567372822" sldId="10370"/>
            <ac:picMk id="4" creationId="{B3B44F4F-7572-4074-86E1-BF79A91C9EC6}"/>
          </ac:picMkLst>
        </pc:picChg>
        <pc:picChg chg="del mod">
          <ac:chgData name="Manuela Pichler" userId="07a841c1-49c8-4352-a8c3-3a0d96cf9a08" providerId="ADAL" clId="{99A247F8-4815-41AC-908E-4476590C5C35}" dt="2019-10-22T16:17:24.714" v="133" actId="478"/>
          <ac:picMkLst>
            <pc:docMk/>
            <pc:sldMk cId="2567372822" sldId="10370"/>
            <ac:picMk id="5" creationId="{39021270-F03B-4E78-9DF9-1D4CC53B0986}"/>
          </ac:picMkLst>
        </pc:picChg>
        <pc:picChg chg="add mod">
          <ac:chgData name="Manuela Pichler" userId="07a841c1-49c8-4352-a8c3-3a0d96cf9a08" providerId="ADAL" clId="{99A247F8-4815-41AC-908E-4476590C5C35}" dt="2019-10-22T16:18:11.701" v="143" actId="1076"/>
          <ac:picMkLst>
            <pc:docMk/>
            <pc:sldMk cId="2567372822" sldId="10370"/>
            <ac:picMk id="6" creationId="{DC262F12-71B8-48AC-8573-E9223D432784}"/>
          </ac:picMkLst>
        </pc:picChg>
      </pc:sldChg>
      <pc:sldChg chg="modSp">
        <pc:chgData name="Manuela Pichler" userId="07a841c1-49c8-4352-a8c3-3a0d96cf9a08" providerId="ADAL" clId="{99A247F8-4815-41AC-908E-4476590C5C35}" dt="2019-10-22T16:22:29.439" v="157"/>
        <pc:sldMkLst>
          <pc:docMk/>
          <pc:sldMk cId="3193056738" sldId="10371"/>
        </pc:sldMkLst>
        <pc:spChg chg="mod">
          <ac:chgData name="Manuela Pichler" userId="07a841c1-49c8-4352-a8c3-3a0d96cf9a08" providerId="ADAL" clId="{99A247F8-4815-41AC-908E-4476590C5C35}" dt="2019-10-22T16:22:29.439" v="157"/>
          <ac:spMkLst>
            <pc:docMk/>
            <pc:sldMk cId="3193056738" sldId="10371"/>
            <ac:spMk id="8" creationId="{C59A5821-0774-4945-8C15-07984AC2DC4F}"/>
          </ac:spMkLst>
        </pc:spChg>
      </pc:sldChg>
      <pc:sldChg chg="delCm">
        <pc:chgData name="Manuela Pichler" userId="07a841c1-49c8-4352-a8c3-3a0d96cf9a08" providerId="ADAL" clId="{99A247F8-4815-41AC-908E-4476590C5C35}" dt="2019-10-22T16:23:03.436" v="158" actId="1592"/>
        <pc:sldMkLst>
          <pc:docMk/>
          <pc:sldMk cId="1752717387" sldId="10389"/>
        </pc:sldMkLst>
      </pc:sldChg>
      <pc:sldChg chg="delCm">
        <pc:chgData name="Manuela Pichler" userId="07a841c1-49c8-4352-a8c3-3a0d96cf9a08" providerId="ADAL" clId="{99A247F8-4815-41AC-908E-4476590C5C35}" dt="2019-10-22T16:07:16.496" v="33" actId="1592"/>
        <pc:sldMkLst>
          <pc:docMk/>
          <pc:sldMk cId="2990651474" sldId="2076136434"/>
        </pc:sldMkLst>
      </pc:sldChg>
      <pc:sldChg chg="delCm">
        <pc:chgData name="Manuela Pichler" userId="07a841c1-49c8-4352-a8c3-3a0d96cf9a08" providerId="ADAL" clId="{99A247F8-4815-41AC-908E-4476590C5C35}" dt="2019-10-22T16:09:59.536" v="34" actId="1592"/>
        <pc:sldMkLst>
          <pc:docMk/>
          <pc:sldMk cId="2251549637" sldId="2076136437"/>
        </pc:sldMkLst>
      </pc:sldChg>
      <pc:sldChg chg="modSp">
        <pc:chgData name="Manuela Pichler" userId="07a841c1-49c8-4352-a8c3-3a0d96cf9a08" providerId="ADAL" clId="{99A247F8-4815-41AC-908E-4476590C5C35}" dt="2019-10-22T16:13:58.379" v="59" actId="20577"/>
        <pc:sldMkLst>
          <pc:docMk/>
          <pc:sldMk cId="2729454466" sldId="2076136438"/>
        </pc:sldMkLst>
        <pc:spChg chg="mod">
          <ac:chgData name="Manuela Pichler" userId="07a841c1-49c8-4352-a8c3-3a0d96cf9a08" providerId="ADAL" clId="{99A247F8-4815-41AC-908E-4476590C5C35}" dt="2019-10-22T16:13:58.379" v="59" actId="20577"/>
          <ac:spMkLst>
            <pc:docMk/>
            <pc:sldMk cId="2729454466" sldId="2076136438"/>
            <ac:spMk id="7" creationId="{633B6EC5-6254-431E-B2C3-E7E711128741}"/>
          </ac:spMkLst>
        </pc:spChg>
      </pc:sldChg>
      <pc:sldChg chg="delCm">
        <pc:chgData name="Manuela Pichler" userId="07a841c1-49c8-4352-a8c3-3a0d96cf9a08" providerId="ADAL" clId="{99A247F8-4815-41AC-908E-4476590C5C35}" dt="2019-10-22T16:24:34.709" v="164" actId="1592"/>
        <pc:sldMkLst>
          <pc:docMk/>
          <pc:sldMk cId="81794600" sldId="2076136444"/>
        </pc:sldMkLst>
      </pc:sldChg>
      <pc:sldChg chg="delCm">
        <pc:chgData name="Manuela Pichler" userId="07a841c1-49c8-4352-a8c3-3a0d96cf9a08" providerId="ADAL" clId="{99A247F8-4815-41AC-908E-4476590C5C35}" dt="2019-10-22T16:25:10.897" v="165" actId="1592"/>
        <pc:sldMkLst>
          <pc:docMk/>
          <pc:sldMk cId="2232600153" sldId="2076136445"/>
        </pc:sldMkLst>
      </pc:sldChg>
      <pc:sldChg chg="modCm">
        <pc:chgData name="Manuela Pichler" userId="07a841c1-49c8-4352-a8c3-3a0d96cf9a08" providerId="ADAL" clId="{99A247F8-4815-41AC-908E-4476590C5C35}" dt="2019-10-22T16:33:58.869" v="170" actId="2056"/>
        <pc:sldMkLst>
          <pc:docMk/>
          <pc:sldMk cId="1114168887" sldId="2076136526"/>
        </pc:sldMkLst>
      </pc:sldChg>
      <pc:sldChg chg="modSp add">
        <pc:chgData name="Manuela Pichler" userId="07a841c1-49c8-4352-a8c3-3a0d96cf9a08" providerId="ADAL" clId="{99A247F8-4815-41AC-908E-4476590C5C35}" dt="2019-10-22T16:05:56.299" v="32" actId="207"/>
        <pc:sldMkLst>
          <pc:docMk/>
          <pc:sldMk cId="4142831694" sldId="2076136527"/>
        </pc:sldMkLst>
        <pc:spChg chg="mod">
          <ac:chgData name="Manuela Pichler" userId="07a841c1-49c8-4352-a8c3-3a0d96cf9a08" providerId="ADAL" clId="{99A247F8-4815-41AC-908E-4476590C5C35}" dt="2019-10-22T16:05:53.084" v="31" actId="207"/>
          <ac:spMkLst>
            <pc:docMk/>
            <pc:sldMk cId="4142831694" sldId="2076136527"/>
            <ac:spMk id="11" creationId="{DB55E870-951B-49B8-937F-F37F2470FE0A}"/>
          </ac:spMkLst>
        </pc:spChg>
        <pc:spChg chg="mod">
          <ac:chgData name="Manuela Pichler" userId="07a841c1-49c8-4352-a8c3-3a0d96cf9a08" providerId="ADAL" clId="{99A247F8-4815-41AC-908E-4476590C5C35}" dt="2019-10-22T16:05:56.299" v="32" actId="207"/>
          <ac:spMkLst>
            <pc:docMk/>
            <pc:sldMk cId="4142831694" sldId="2076136527"/>
            <ac:spMk id="12" creationId="{D0B6FA70-6959-463C-85D9-0690D92839EB}"/>
          </ac:spMkLst>
        </pc:spChg>
      </pc:sldChg>
    </pc:docChg>
  </pc:docChgLst>
  <pc:docChgLst>
    <pc:chgData name="Manuela Pichler" userId="07a841c1-49c8-4352-a8c3-3a0d96cf9a08" providerId="ADAL" clId="{F7D784F4-EDA8-4F5D-B495-BA84C2DAABD3}"/>
    <pc:docChg chg="undo custSel addSld delSld modSld sldOrd modSection">
      <pc:chgData name="Manuela Pichler" userId="07a841c1-49c8-4352-a8c3-3a0d96cf9a08" providerId="ADAL" clId="{F7D784F4-EDA8-4F5D-B495-BA84C2DAABD3}" dt="2020-09-30T16:13:27.800" v="575" actId="2696"/>
      <pc:docMkLst>
        <pc:docMk/>
      </pc:docMkLst>
      <pc:sldChg chg="del">
        <pc:chgData name="Manuela Pichler" userId="07a841c1-49c8-4352-a8c3-3a0d96cf9a08" providerId="ADAL" clId="{F7D784F4-EDA8-4F5D-B495-BA84C2DAABD3}" dt="2020-09-30T11:24:58.612" v="321" actId="47"/>
        <pc:sldMkLst>
          <pc:docMk/>
          <pc:sldMk cId="811574503" sldId="259"/>
        </pc:sldMkLst>
      </pc:sldChg>
      <pc:sldChg chg="addSp delSp modSp mod">
        <pc:chgData name="Manuela Pichler" userId="07a841c1-49c8-4352-a8c3-3a0d96cf9a08" providerId="ADAL" clId="{F7D784F4-EDA8-4F5D-B495-BA84C2DAABD3}" dt="2020-09-30T10:22:47.415" v="25" actId="1076"/>
        <pc:sldMkLst>
          <pc:docMk/>
          <pc:sldMk cId="2920650541" sldId="336"/>
        </pc:sldMkLst>
        <pc:grpChg chg="del">
          <ac:chgData name="Manuela Pichler" userId="07a841c1-49c8-4352-a8c3-3a0d96cf9a08" providerId="ADAL" clId="{F7D784F4-EDA8-4F5D-B495-BA84C2DAABD3}" dt="2020-09-30T10:22:18.786" v="18" actId="478"/>
          <ac:grpSpMkLst>
            <pc:docMk/>
            <pc:sldMk cId="2920650541" sldId="336"/>
            <ac:grpSpMk id="75" creationId="{FE232BF7-7C8E-B24D-98F9-879A0E63271C}"/>
          </ac:grpSpMkLst>
        </pc:grpChg>
        <pc:grpChg chg="del">
          <ac:chgData name="Manuela Pichler" userId="07a841c1-49c8-4352-a8c3-3a0d96cf9a08" providerId="ADAL" clId="{F7D784F4-EDA8-4F5D-B495-BA84C2DAABD3}" dt="2020-09-30T10:22:14.344" v="15" actId="478"/>
          <ac:grpSpMkLst>
            <pc:docMk/>
            <pc:sldMk cId="2920650541" sldId="336"/>
            <ac:grpSpMk id="83" creationId="{85B56489-F913-1E49-9656-979AC39368C4}"/>
          </ac:grpSpMkLst>
        </pc:grpChg>
        <pc:grpChg chg="del">
          <ac:chgData name="Manuela Pichler" userId="07a841c1-49c8-4352-a8c3-3a0d96cf9a08" providerId="ADAL" clId="{F7D784F4-EDA8-4F5D-B495-BA84C2DAABD3}" dt="2020-09-30T10:22:01.758" v="7" actId="478"/>
          <ac:grpSpMkLst>
            <pc:docMk/>
            <pc:sldMk cId="2920650541" sldId="336"/>
            <ac:grpSpMk id="97" creationId="{5222F153-F65B-3443-B222-BF6280E7FDAB}"/>
          </ac:grpSpMkLst>
        </pc:grpChg>
        <pc:grpChg chg="del">
          <ac:chgData name="Manuela Pichler" userId="07a841c1-49c8-4352-a8c3-3a0d96cf9a08" providerId="ADAL" clId="{F7D784F4-EDA8-4F5D-B495-BA84C2DAABD3}" dt="2020-09-30T10:22:08.498" v="11" actId="478"/>
          <ac:grpSpMkLst>
            <pc:docMk/>
            <pc:sldMk cId="2920650541" sldId="336"/>
            <ac:grpSpMk id="101" creationId="{1DF41A7C-D61D-F240-B1A3-25EC3D62F414}"/>
          </ac:grpSpMkLst>
        </pc:grpChg>
        <pc:picChg chg="add mod">
          <ac:chgData name="Manuela Pichler" userId="07a841c1-49c8-4352-a8c3-3a0d96cf9a08" providerId="ADAL" clId="{F7D784F4-EDA8-4F5D-B495-BA84C2DAABD3}" dt="2020-09-30T10:22:38.385" v="23" actId="1076"/>
          <ac:picMkLst>
            <pc:docMk/>
            <pc:sldMk cId="2920650541" sldId="336"/>
            <ac:picMk id="3" creationId="{50ECEB85-58F7-4CFA-B30A-3C342381A3A9}"/>
          </ac:picMkLst>
        </pc:picChg>
        <pc:picChg chg="add mod">
          <ac:chgData name="Manuela Pichler" userId="07a841c1-49c8-4352-a8c3-3a0d96cf9a08" providerId="ADAL" clId="{F7D784F4-EDA8-4F5D-B495-BA84C2DAABD3}" dt="2020-09-30T10:22:43.936" v="24" actId="1076"/>
          <ac:picMkLst>
            <pc:docMk/>
            <pc:sldMk cId="2920650541" sldId="336"/>
            <ac:picMk id="5" creationId="{F14ED77A-ED1F-427E-A9B3-4DAC9285B1BC}"/>
          </ac:picMkLst>
        </pc:picChg>
        <pc:picChg chg="add mod">
          <ac:chgData name="Manuela Pichler" userId="07a841c1-49c8-4352-a8c3-3a0d96cf9a08" providerId="ADAL" clId="{F7D784F4-EDA8-4F5D-B495-BA84C2DAABD3}" dt="2020-09-30T10:22:33.903" v="22" actId="1076"/>
          <ac:picMkLst>
            <pc:docMk/>
            <pc:sldMk cId="2920650541" sldId="336"/>
            <ac:picMk id="7" creationId="{3BD730E8-AAF9-435C-B8EE-6CAE1A37D6AA}"/>
          </ac:picMkLst>
        </pc:picChg>
        <pc:picChg chg="add mod">
          <ac:chgData name="Manuela Pichler" userId="07a841c1-49c8-4352-a8c3-3a0d96cf9a08" providerId="ADAL" clId="{F7D784F4-EDA8-4F5D-B495-BA84C2DAABD3}" dt="2020-09-30T10:22:47.415" v="25" actId="1076"/>
          <ac:picMkLst>
            <pc:docMk/>
            <pc:sldMk cId="2920650541" sldId="336"/>
            <ac:picMk id="9" creationId="{926273F8-C1F2-4E00-82CF-E5C91C5775C5}"/>
          </ac:picMkLst>
        </pc:picChg>
      </pc:sldChg>
      <pc:sldChg chg="addSp delSp modSp mod modNotesTx">
        <pc:chgData name="Manuela Pichler" userId="07a841c1-49c8-4352-a8c3-3a0d96cf9a08" providerId="ADAL" clId="{F7D784F4-EDA8-4F5D-B495-BA84C2DAABD3}" dt="2020-09-30T11:20:55.084" v="280"/>
        <pc:sldMkLst>
          <pc:docMk/>
          <pc:sldMk cId="1931372935" sldId="1620"/>
        </pc:sldMkLst>
        <pc:spChg chg="mod">
          <ac:chgData name="Manuela Pichler" userId="07a841c1-49c8-4352-a8c3-3a0d96cf9a08" providerId="ADAL" clId="{F7D784F4-EDA8-4F5D-B495-BA84C2DAABD3}" dt="2020-09-30T11:20:40.679" v="269" actId="20577"/>
          <ac:spMkLst>
            <pc:docMk/>
            <pc:sldMk cId="1931372935" sldId="1620"/>
            <ac:spMk id="5" creationId="{CAF9F0A0-5D15-477E-8BFD-E834194B822B}"/>
          </ac:spMkLst>
        </pc:spChg>
        <pc:picChg chg="add mod ord">
          <ac:chgData name="Manuela Pichler" userId="07a841c1-49c8-4352-a8c3-3a0d96cf9a08" providerId="ADAL" clId="{F7D784F4-EDA8-4F5D-B495-BA84C2DAABD3}" dt="2020-09-30T11:20:23.391" v="254" actId="170"/>
          <ac:picMkLst>
            <pc:docMk/>
            <pc:sldMk cId="1931372935" sldId="1620"/>
            <ac:picMk id="4" creationId="{A9CAA241-3430-45B9-B1B0-A3854A0909C6}"/>
          </ac:picMkLst>
        </pc:picChg>
        <pc:picChg chg="add del mod">
          <ac:chgData name="Manuela Pichler" userId="07a841c1-49c8-4352-a8c3-3a0d96cf9a08" providerId="ADAL" clId="{F7D784F4-EDA8-4F5D-B495-BA84C2DAABD3}" dt="2020-09-30T11:20:30.318" v="255" actId="1076"/>
          <ac:picMkLst>
            <pc:docMk/>
            <pc:sldMk cId="1931372935" sldId="1620"/>
            <ac:picMk id="14" creationId="{8CAE73BF-0783-4C8B-B210-21EC9F80BBF0}"/>
          </ac:picMkLst>
        </pc:picChg>
        <pc:picChg chg="del">
          <ac:chgData name="Manuela Pichler" userId="07a841c1-49c8-4352-a8c3-3a0d96cf9a08" providerId="ADAL" clId="{F7D784F4-EDA8-4F5D-B495-BA84C2DAABD3}" dt="2020-09-30T11:19:46.821" v="240" actId="478"/>
          <ac:picMkLst>
            <pc:docMk/>
            <pc:sldMk cId="1931372935" sldId="1620"/>
            <ac:picMk id="2050" creationId="{F96A135A-D665-4FD4-AB13-6DBF23D47244}"/>
          </ac:picMkLst>
        </pc:picChg>
      </pc:sldChg>
      <pc:sldChg chg="addSp delSp modSp add mod modNotesTx">
        <pc:chgData name="Manuela Pichler" userId="07a841c1-49c8-4352-a8c3-3a0d96cf9a08" providerId="ADAL" clId="{F7D784F4-EDA8-4F5D-B495-BA84C2DAABD3}" dt="2020-09-30T12:57:58.523" v="555" actId="6549"/>
        <pc:sldMkLst>
          <pc:docMk/>
          <pc:sldMk cId="21991821" sldId="1623"/>
        </pc:sldMkLst>
        <pc:spChg chg="mod">
          <ac:chgData name="Manuela Pichler" userId="07a841c1-49c8-4352-a8c3-3a0d96cf9a08" providerId="ADAL" clId="{F7D784F4-EDA8-4F5D-B495-BA84C2DAABD3}" dt="2020-09-30T12:54:55.212" v="465" actId="1076"/>
          <ac:spMkLst>
            <pc:docMk/>
            <pc:sldMk cId="21991821" sldId="1623"/>
            <ac:spMk id="8" creationId="{A53F1158-03FA-4073-8A0F-69A485D48033}"/>
          </ac:spMkLst>
        </pc:spChg>
        <pc:spChg chg="mod">
          <ac:chgData name="Manuela Pichler" userId="07a841c1-49c8-4352-a8c3-3a0d96cf9a08" providerId="ADAL" clId="{F7D784F4-EDA8-4F5D-B495-BA84C2DAABD3}" dt="2020-09-30T12:55:41.360" v="520" actId="1076"/>
          <ac:spMkLst>
            <pc:docMk/>
            <pc:sldMk cId="21991821" sldId="1623"/>
            <ac:spMk id="9" creationId="{601EFE86-CB5A-4B3E-A298-ACE18D9D16D6}"/>
          </ac:spMkLst>
        </pc:spChg>
        <pc:spChg chg="mod">
          <ac:chgData name="Manuela Pichler" userId="07a841c1-49c8-4352-a8c3-3a0d96cf9a08" providerId="ADAL" clId="{F7D784F4-EDA8-4F5D-B495-BA84C2DAABD3}" dt="2020-09-30T12:55:15.953" v="490" actId="14100"/>
          <ac:spMkLst>
            <pc:docMk/>
            <pc:sldMk cId="21991821" sldId="1623"/>
            <ac:spMk id="20" creationId="{9EC1EE0E-C6BF-4355-8787-3B6EE1980D35}"/>
          </ac:spMkLst>
        </pc:spChg>
        <pc:spChg chg="mod">
          <ac:chgData name="Manuela Pichler" userId="07a841c1-49c8-4352-a8c3-3a0d96cf9a08" providerId="ADAL" clId="{F7D784F4-EDA8-4F5D-B495-BA84C2DAABD3}" dt="2020-09-30T12:55:15.953" v="490" actId="14100"/>
          <ac:spMkLst>
            <pc:docMk/>
            <pc:sldMk cId="21991821" sldId="1623"/>
            <ac:spMk id="21" creationId="{71794F9F-91F8-4019-BB5C-A2EEBCE5E62B}"/>
          </ac:spMkLst>
        </pc:spChg>
        <pc:spChg chg="del mod">
          <ac:chgData name="Manuela Pichler" userId="07a841c1-49c8-4352-a8c3-3a0d96cf9a08" providerId="ADAL" clId="{F7D784F4-EDA8-4F5D-B495-BA84C2DAABD3}" dt="2020-09-30T12:54:50.437" v="464" actId="478"/>
          <ac:spMkLst>
            <pc:docMk/>
            <pc:sldMk cId="21991821" sldId="1623"/>
            <ac:spMk id="22" creationId="{90C77061-F886-4D0A-9C23-D30A99306585}"/>
          </ac:spMkLst>
        </pc:spChg>
        <pc:spChg chg="del mod">
          <ac:chgData name="Manuela Pichler" userId="07a841c1-49c8-4352-a8c3-3a0d96cf9a08" providerId="ADAL" clId="{F7D784F4-EDA8-4F5D-B495-BA84C2DAABD3}" dt="2020-09-30T12:54:49.401" v="463" actId="478"/>
          <ac:spMkLst>
            <pc:docMk/>
            <pc:sldMk cId="21991821" sldId="1623"/>
            <ac:spMk id="23" creationId="{8D5014CD-B79E-455B-BF96-EA40D704235D}"/>
          </ac:spMkLst>
        </pc:spChg>
        <pc:spChg chg="del mod">
          <ac:chgData name="Manuela Pichler" userId="07a841c1-49c8-4352-a8c3-3a0d96cf9a08" providerId="ADAL" clId="{F7D784F4-EDA8-4F5D-B495-BA84C2DAABD3}" dt="2020-09-30T12:54:47.447" v="461" actId="478"/>
          <ac:spMkLst>
            <pc:docMk/>
            <pc:sldMk cId="21991821" sldId="1623"/>
            <ac:spMk id="24" creationId="{F9AA2A50-BBD3-43BF-A490-80E98D86E3CE}"/>
          </ac:spMkLst>
        </pc:spChg>
        <pc:spChg chg="del mod">
          <ac:chgData name="Manuela Pichler" userId="07a841c1-49c8-4352-a8c3-3a0d96cf9a08" providerId="ADAL" clId="{F7D784F4-EDA8-4F5D-B495-BA84C2DAABD3}" dt="2020-09-30T12:54:48.491" v="462" actId="478"/>
          <ac:spMkLst>
            <pc:docMk/>
            <pc:sldMk cId="21991821" sldId="1623"/>
            <ac:spMk id="25" creationId="{7F125F64-A05D-4F00-AAFF-43AF00919B7F}"/>
          </ac:spMkLst>
        </pc:spChg>
        <pc:spChg chg="del mod">
          <ac:chgData name="Manuela Pichler" userId="07a841c1-49c8-4352-a8c3-3a0d96cf9a08" providerId="ADAL" clId="{F7D784F4-EDA8-4F5D-B495-BA84C2DAABD3}" dt="2020-09-30T12:54:46.278" v="460" actId="478"/>
          <ac:spMkLst>
            <pc:docMk/>
            <pc:sldMk cId="21991821" sldId="1623"/>
            <ac:spMk id="26" creationId="{59066EEB-DE20-4D7A-B0CA-D43683DEEF2C}"/>
          </ac:spMkLst>
        </pc:spChg>
        <pc:spChg chg="del mod">
          <ac:chgData name="Manuela Pichler" userId="07a841c1-49c8-4352-a8c3-3a0d96cf9a08" providerId="ADAL" clId="{F7D784F4-EDA8-4F5D-B495-BA84C2DAABD3}" dt="2020-09-30T12:54:45.120" v="459" actId="478"/>
          <ac:spMkLst>
            <pc:docMk/>
            <pc:sldMk cId="21991821" sldId="1623"/>
            <ac:spMk id="27" creationId="{3949B6B2-551F-4703-A371-17B4EE0BC203}"/>
          </ac:spMkLst>
        </pc:spChg>
        <pc:spChg chg="del">
          <ac:chgData name="Manuela Pichler" userId="07a841c1-49c8-4352-a8c3-3a0d96cf9a08" providerId="ADAL" clId="{F7D784F4-EDA8-4F5D-B495-BA84C2DAABD3}" dt="2020-09-30T12:54:36.621" v="457" actId="478"/>
          <ac:spMkLst>
            <pc:docMk/>
            <pc:sldMk cId="21991821" sldId="1623"/>
            <ac:spMk id="28" creationId="{B6548B8B-2DD2-4479-8D59-6787DB353DCA}"/>
          </ac:spMkLst>
        </pc:spChg>
        <pc:spChg chg="mod">
          <ac:chgData name="Manuela Pichler" userId="07a841c1-49c8-4352-a8c3-3a0d96cf9a08" providerId="ADAL" clId="{F7D784F4-EDA8-4F5D-B495-BA84C2DAABD3}" dt="2020-09-30T12:55:47.376" v="522" actId="1076"/>
          <ac:spMkLst>
            <pc:docMk/>
            <pc:sldMk cId="21991821" sldId="1623"/>
            <ac:spMk id="37" creationId="{BAB89780-4C27-45A8-A015-B0E252E991FC}"/>
          </ac:spMkLst>
        </pc:spChg>
        <pc:spChg chg="mod">
          <ac:chgData name="Manuela Pichler" userId="07a841c1-49c8-4352-a8c3-3a0d96cf9a08" providerId="ADAL" clId="{F7D784F4-EDA8-4F5D-B495-BA84C2DAABD3}" dt="2020-09-30T12:55:47.376" v="522" actId="1076"/>
          <ac:spMkLst>
            <pc:docMk/>
            <pc:sldMk cId="21991821" sldId="1623"/>
            <ac:spMk id="38" creationId="{FC47109C-2784-4527-AAD4-E8F63AC3EFC1}"/>
          </ac:spMkLst>
        </pc:spChg>
        <pc:spChg chg="del mod">
          <ac:chgData name="Manuela Pichler" userId="07a841c1-49c8-4352-a8c3-3a0d96cf9a08" providerId="ADAL" clId="{F7D784F4-EDA8-4F5D-B495-BA84C2DAABD3}" dt="2020-09-30T12:55:04.074" v="471" actId="478"/>
          <ac:spMkLst>
            <pc:docMk/>
            <pc:sldMk cId="21991821" sldId="1623"/>
            <ac:spMk id="39" creationId="{30C1C7D0-425A-40FD-8837-3478793F4D92}"/>
          </ac:spMkLst>
        </pc:spChg>
        <pc:spChg chg="del mod">
          <ac:chgData name="Manuela Pichler" userId="07a841c1-49c8-4352-a8c3-3a0d96cf9a08" providerId="ADAL" clId="{F7D784F4-EDA8-4F5D-B495-BA84C2DAABD3}" dt="2020-09-30T12:55:02.215" v="469" actId="478"/>
          <ac:spMkLst>
            <pc:docMk/>
            <pc:sldMk cId="21991821" sldId="1623"/>
            <ac:spMk id="40" creationId="{8A65A747-DDCC-4661-B385-95C9C412C182}"/>
          </ac:spMkLst>
        </pc:spChg>
        <pc:spChg chg="del">
          <ac:chgData name="Manuela Pichler" userId="07a841c1-49c8-4352-a8c3-3a0d96cf9a08" providerId="ADAL" clId="{F7D784F4-EDA8-4F5D-B495-BA84C2DAABD3}" dt="2020-09-30T12:54:56.712" v="466" actId="478"/>
          <ac:spMkLst>
            <pc:docMk/>
            <pc:sldMk cId="21991821" sldId="1623"/>
            <ac:spMk id="41" creationId="{C596965A-EB0A-4D9B-9C5F-89D00D5B4DF0}"/>
          </ac:spMkLst>
        </pc:spChg>
        <pc:spChg chg="del mod">
          <ac:chgData name="Manuela Pichler" userId="07a841c1-49c8-4352-a8c3-3a0d96cf9a08" providerId="ADAL" clId="{F7D784F4-EDA8-4F5D-B495-BA84C2DAABD3}" dt="2020-09-30T12:55:03.076" v="470" actId="478"/>
          <ac:spMkLst>
            <pc:docMk/>
            <pc:sldMk cId="21991821" sldId="1623"/>
            <ac:spMk id="42" creationId="{CD91172A-DD8C-4F23-9A98-CE8A742CB32B}"/>
          </ac:spMkLst>
        </pc:spChg>
        <pc:spChg chg="del mod">
          <ac:chgData name="Manuela Pichler" userId="07a841c1-49c8-4352-a8c3-3a0d96cf9a08" providerId="ADAL" clId="{F7D784F4-EDA8-4F5D-B495-BA84C2DAABD3}" dt="2020-09-30T12:55:01.218" v="468" actId="478"/>
          <ac:spMkLst>
            <pc:docMk/>
            <pc:sldMk cId="21991821" sldId="1623"/>
            <ac:spMk id="43" creationId="{EB3597DA-E6F3-4B03-B29C-C7769E184CE0}"/>
          </ac:spMkLst>
        </pc:spChg>
        <pc:spChg chg="del mod">
          <ac:chgData name="Manuela Pichler" userId="07a841c1-49c8-4352-a8c3-3a0d96cf9a08" providerId="ADAL" clId="{F7D784F4-EDA8-4F5D-B495-BA84C2DAABD3}" dt="2020-09-30T12:55:05.194" v="472" actId="478"/>
          <ac:spMkLst>
            <pc:docMk/>
            <pc:sldMk cId="21991821" sldId="1623"/>
            <ac:spMk id="44" creationId="{11E333FF-4660-4C57-A064-615F34BD9531}"/>
          </ac:spMkLst>
        </pc:spChg>
        <pc:spChg chg="del mod">
          <ac:chgData name="Manuela Pichler" userId="07a841c1-49c8-4352-a8c3-3a0d96cf9a08" providerId="ADAL" clId="{F7D784F4-EDA8-4F5D-B495-BA84C2DAABD3}" dt="2020-09-30T12:55:06.031" v="473" actId="478"/>
          <ac:spMkLst>
            <pc:docMk/>
            <pc:sldMk cId="21991821" sldId="1623"/>
            <ac:spMk id="45" creationId="{AC74430A-A518-41DB-BDC9-512D949394EE}"/>
          </ac:spMkLst>
        </pc:spChg>
        <pc:grpChg chg="add">
          <ac:chgData name="Manuela Pichler" userId="07a841c1-49c8-4352-a8c3-3a0d96cf9a08" providerId="ADAL" clId="{F7D784F4-EDA8-4F5D-B495-BA84C2DAABD3}" dt="2020-09-30T12:56:34.032" v="538" actId="164"/>
          <ac:grpSpMkLst>
            <pc:docMk/>
            <pc:sldMk cId="21991821" sldId="1623"/>
            <ac:grpSpMk id="15" creationId="{223F51AB-DCB8-4144-BD71-56A1AEA84DCD}"/>
          </ac:grpSpMkLst>
        </pc:grpChg>
        <pc:grpChg chg="mod">
          <ac:chgData name="Manuela Pichler" userId="07a841c1-49c8-4352-a8c3-3a0d96cf9a08" providerId="ADAL" clId="{F7D784F4-EDA8-4F5D-B495-BA84C2DAABD3}" dt="2020-09-30T12:55:15.953" v="490" actId="14100"/>
          <ac:grpSpMkLst>
            <pc:docMk/>
            <pc:sldMk cId="21991821" sldId="1623"/>
            <ac:grpSpMk id="29" creationId="{EFEC83CB-8264-497F-8B96-A508B0FE1542}"/>
          </ac:grpSpMkLst>
        </pc:grpChg>
        <pc:grpChg chg="mod">
          <ac:chgData name="Manuela Pichler" userId="07a841c1-49c8-4352-a8c3-3a0d96cf9a08" providerId="ADAL" clId="{F7D784F4-EDA8-4F5D-B495-BA84C2DAABD3}" dt="2020-09-30T12:55:47.376" v="522" actId="1076"/>
          <ac:grpSpMkLst>
            <pc:docMk/>
            <pc:sldMk cId="21991821" sldId="1623"/>
            <ac:grpSpMk id="36" creationId="{67E3AEC4-5583-4B77-ADD5-3836ABCD2D04}"/>
          </ac:grpSpMkLst>
        </pc:grpChg>
        <pc:picChg chg="add mod">
          <ac:chgData name="Manuela Pichler" userId="07a841c1-49c8-4352-a8c3-3a0d96cf9a08" providerId="ADAL" clId="{F7D784F4-EDA8-4F5D-B495-BA84C2DAABD3}" dt="2020-09-30T12:56:18.017" v="535" actId="1076"/>
          <ac:picMkLst>
            <pc:docMk/>
            <pc:sldMk cId="21991821" sldId="1623"/>
            <ac:picMk id="10" creationId="{A5CDAE9C-7100-4CE6-A4F6-A6E76C85D40F}"/>
          </ac:picMkLst>
        </pc:picChg>
        <pc:picChg chg="add mod">
          <ac:chgData name="Manuela Pichler" userId="07a841c1-49c8-4352-a8c3-3a0d96cf9a08" providerId="ADAL" clId="{F7D784F4-EDA8-4F5D-B495-BA84C2DAABD3}" dt="2020-09-30T12:56:14.753" v="534" actId="1076"/>
          <ac:picMkLst>
            <pc:docMk/>
            <pc:sldMk cId="21991821" sldId="1623"/>
            <ac:picMk id="12" creationId="{35E4002A-D051-4D0C-821D-1BE541203695}"/>
          </ac:picMkLst>
        </pc:picChg>
        <pc:picChg chg="add mod">
          <ac:chgData name="Manuela Pichler" userId="07a841c1-49c8-4352-a8c3-3a0d96cf9a08" providerId="ADAL" clId="{F7D784F4-EDA8-4F5D-B495-BA84C2DAABD3}" dt="2020-09-30T12:56:24.193" v="537" actId="1076"/>
          <ac:picMkLst>
            <pc:docMk/>
            <pc:sldMk cId="21991821" sldId="1623"/>
            <ac:picMk id="13" creationId="{5CDFA439-FF01-4FA4-8224-DBF8109E0B18}"/>
          </ac:picMkLst>
        </pc:picChg>
        <pc:picChg chg="add mod">
          <ac:chgData name="Manuela Pichler" userId="07a841c1-49c8-4352-a8c3-3a0d96cf9a08" providerId="ADAL" clId="{F7D784F4-EDA8-4F5D-B495-BA84C2DAABD3}" dt="2020-09-30T12:56:24.193" v="537" actId="1076"/>
          <ac:picMkLst>
            <pc:docMk/>
            <pc:sldMk cId="21991821" sldId="1623"/>
            <ac:picMk id="14" creationId="{14F02C6E-81B9-4E1B-B7EB-725D080D9133}"/>
          </ac:picMkLst>
        </pc:picChg>
      </pc:sldChg>
      <pc:sldChg chg="modSp mod">
        <pc:chgData name="Manuela Pichler" userId="07a841c1-49c8-4352-a8c3-3a0d96cf9a08" providerId="ADAL" clId="{F7D784F4-EDA8-4F5D-B495-BA84C2DAABD3}" dt="2020-09-30T11:28:28.714" v="408" actId="1076"/>
        <pc:sldMkLst>
          <pc:docMk/>
          <pc:sldMk cId="247361136" sldId="1626"/>
        </pc:sldMkLst>
        <pc:spChg chg="mod">
          <ac:chgData name="Manuela Pichler" userId="07a841c1-49c8-4352-a8c3-3a0d96cf9a08" providerId="ADAL" clId="{F7D784F4-EDA8-4F5D-B495-BA84C2DAABD3}" dt="2020-09-30T11:28:28.714" v="408" actId="1076"/>
          <ac:spMkLst>
            <pc:docMk/>
            <pc:sldMk cId="247361136" sldId="1626"/>
            <ac:spMk id="5" creationId="{9EFA7C87-9100-4D40-A511-6AACA54C9DF5}"/>
          </ac:spMkLst>
        </pc:spChg>
        <pc:spChg chg="ord">
          <ac:chgData name="Manuela Pichler" userId="07a841c1-49c8-4352-a8c3-3a0d96cf9a08" providerId="ADAL" clId="{F7D784F4-EDA8-4F5D-B495-BA84C2DAABD3}" dt="2020-09-30T11:28:26.280" v="407" actId="166"/>
          <ac:spMkLst>
            <pc:docMk/>
            <pc:sldMk cId="247361136" sldId="1626"/>
            <ac:spMk id="9" creationId="{4E682E1C-8C6E-42A8-BD0C-BBE27B0B0B19}"/>
          </ac:spMkLst>
        </pc:spChg>
        <pc:grpChg chg="ord">
          <ac:chgData name="Manuela Pichler" userId="07a841c1-49c8-4352-a8c3-3a0d96cf9a08" providerId="ADAL" clId="{F7D784F4-EDA8-4F5D-B495-BA84C2DAABD3}" dt="2020-09-30T11:28:26.280" v="407" actId="166"/>
          <ac:grpSpMkLst>
            <pc:docMk/>
            <pc:sldMk cId="247361136" sldId="1626"/>
            <ac:grpSpMk id="24" creationId="{403B1BF5-3E92-4CA1-8FCC-ED01ED46CDFA}"/>
          </ac:grpSpMkLst>
        </pc:grpChg>
      </pc:sldChg>
      <pc:sldChg chg="addSp delSp modSp add">
        <pc:chgData name="Manuela Pichler" userId="07a841c1-49c8-4352-a8c3-3a0d96cf9a08" providerId="ADAL" clId="{F7D784F4-EDA8-4F5D-B495-BA84C2DAABD3}" dt="2020-09-30T12:56:46.927" v="543" actId="1076"/>
        <pc:sldMkLst>
          <pc:docMk/>
          <pc:sldMk cId="978387420" sldId="1629"/>
        </pc:sldMkLst>
        <pc:spChg chg="mod">
          <ac:chgData name="Manuela Pichler" userId="07a841c1-49c8-4352-a8c3-3a0d96cf9a08" providerId="ADAL" clId="{F7D784F4-EDA8-4F5D-B495-BA84C2DAABD3}" dt="2020-09-30T12:56:40.591" v="540"/>
          <ac:spMkLst>
            <pc:docMk/>
            <pc:sldMk cId="978387420" sldId="1629"/>
            <ac:spMk id="44" creationId="{410C4E9C-6B12-4046-B9D8-D15B435E3C33}"/>
          </ac:spMkLst>
        </pc:spChg>
        <pc:spChg chg="mod">
          <ac:chgData name="Manuela Pichler" userId="07a841c1-49c8-4352-a8c3-3a0d96cf9a08" providerId="ADAL" clId="{F7D784F4-EDA8-4F5D-B495-BA84C2DAABD3}" dt="2020-09-30T12:56:40.591" v="540"/>
          <ac:spMkLst>
            <pc:docMk/>
            <pc:sldMk cId="978387420" sldId="1629"/>
            <ac:spMk id="50" creationId="{A661E523-D166-427D-99B8-61B966F6E447}"/>
          </ac:spMkLst>
        </pc:spChg>
        <pc:spChg chg="mod">
          <ac:chgData name="Manuela Pichler" userId="07a841c1-49c8-4352-a8c3-3a0d96cf9a08" providerId="ADAL" clId="{F7D784F4-EDA8-4F5D-B495-BA84C2DAABD3}" dt="2020-09-30T12:56:40.591" v="540"/>
          <ac:spMkLst>
            <pc:docMk/>
            <pc:sldMk cId="978387420" sldId="1629"/>
            <ac:spMk id="51" creationId="{78D621D6-C26B-4C55-A0A9-A41CED550875}"/>
          </ac:spMkLst>
        </pc:spChg>
        <pc:spChg chg="mod">
          <ac:chgData name="Manuela Pichler" userId="07a841c1-49c8-4352-a8c3-3a0d96cf9a08" providerId="ADAL" clId="{F7D784F4-EDA8-4F5D-B495-BA84C2DAABD3}" dt="2020-09-30T12:56:46.927" v="543" actId="1076"/>
          <ac:spMkLst>
            <pc:docMk/>
            <pc:sldMk cId="978387420" sldId="1629"/>
            <ac:spMk id="53" creationId="{CDF93C37-7D5E-4B8B-92DE-4B3B6F25F692}"/>
          </ac:spMkLst>
        </pc:spChg>
        <pc:spChg chg="mod">
          <ac:chgData name="Manuela Pichler" userId="07a841c1-49c8-4352-a8c3-3a0d96cf9a08" providerId="ADAL" clId="{F7D784F4-EDA8-4F5D-B495-BA84C2DAABD3}" dt="2020-09-30T12:56:46.927" v="543" actId="1076"/>
          <ac:spMkLst>
            <pc:docMk/>
            <pc:sldMk cId="978387420" sldId="1629"/>
            <ac:spMk id="57" creationId="{67CA5354-3653-4457-AE90-E291380563DF}"/>
          </ac:spMkLst>
        </pc:spChg>
        <pc:spChg chg="mod">
          <ac:chgData name="Manuela Pichler" userId="07a841c1-49c8-4352-a8c3-3a0d96cf9a08" providerId="ADAL" clId="{F7D784F4-EDA8-4F5D-B495-BA84C2DAABD3}" dt="2020-09-30T12:56:46.927" v="543" actId="1076"/>
          <ac:spMkLst>
            <pc:docMk/>
            <pc:sldMk cId="978387420" sldId="1629"/>
            <ac:spMk id="58" creationId="{D16FE891-D556-4090-8189-955489E38472}"/>
          </ac:spMkLst>
        </pc:spChg>
        <pc:spChg chg="del">
          <ac:chgData name="Manuela Pichler" userId="07a841c1-49c8-4352-a8c3-3a0d96cf9a08" providerId="ADAL" clId="{F7D784F4-EDA8-4F5D-B495-BA84C2DAABD3}" dt="2020-09-30T12:56:39.314" v="539" actId="478"/>
          <ac:spMkLst>
            <pc:docMk/>
            <pc:sldMk cId="978387420" sldId="1629"/>
            <ac:spMk id="79" creationId="{7B14A047-B12E-41FA-8AD5-B6C0F876F731}"/>
          </ac:spMkLst>
        </pc:spChg>
        <pc:spChg chg="del">
          <ac:chgData name="Manuela Pichler" userId="07a841c1-49c8-4352-a8c3-3a0d96cf9a08" providerId="ADAL" clId="{F7D784F4-EDA8-4F5D-B495-BA84C2DAABD3}" dt="2020-09-30T12:56:43.802" v="541" actId="478"/>
          <ac:spMkLst>
            <pc:docMk/>
            <pc:sldMk cId="978387420" sldId="1629"/>
            <ac:spMk id="94" creationId="{24DF3BC4-8750-4FBC-BE32-09F1F6404AD8}"/>
          </ac:spMkLst>
        </pc:spChg>
        <pc:grpChg chg="add mod">
          <ac:chgData name="Manuela Pichler" userId="07a841c1-49c8-4352-a8c3-3a0d96cf9a08" providerId="ADAL" clId="{F7D784F4-EDA8-4F5D-B495-BA84C2DAABD3}" dt="2020-09-30T12:56:40.591" v="540"/>
          <ac:grpSpMkLst>
            <pc:docMk/>
            <pc:sldMk cId="978387420" sldId="1629"/>
            <ac:grpSpMk id="43" creationId="{772C2564-62CA-43BB-B841-5DDA80246EAB}"/>
          </ac:grpSpMkLst>
        </pc:grpChg>
        <pc:grpChg chg="mod">
          <ac:chgData name="Manuela Pichler" userId="07a841c1-49c8-4352-a8c3-3a0d96cf9a08" providerId="ADAL" clId="{F7D784F4-EDA8-4F5D-B495-BA84C2DAABD3}" dt="2020-09-30T12:56:40.591" v="540"/>
          <ac:grpSpMkLst>
            <pc:docMk/>
            <pc:sldMk cId="978387420" sldId="1629"/>
            <ac:grpSpMk id="45" creationId="{8190A183-53A9-4B97-A5B7-0F7B88A5F14A}"/>
          </ac:grpSpMkLst>
        </pc:grpChg>
        <pc:grpChg chg="add mod">
          <ac:chgData name="Manuela Pichler" userId="07a841c1-49c8-4352-a8c3-3a0d96cf9a08" providerId="ADAL" clId="{F7D784F4-EDA8-4F5D-B495-BA84C2DAABD3}" dt="2020-09-30T12:56:46.927" v="543" actId="1076"/>
          <ac:grpSpMkLst>
            <pc:docMk/>
            <pc:sldMk cId="978387420" sldId="1629"/>
            <ac:grpSpMk id="52" creationId="{089CDE90-2988-4EF7-8BDE-5873107247EF}"/>
          </ac:grpSpMkLst>
        </pc:grpChg>
        <pc:grpChg chg="mod">
          <ac:chgData name="Manuela Pichler" userId="07a841c1-49c8-4352-a8c3-3a0d96cf9a08" providerId="ADAL" clId="{F7D784F4-EDA8-4F5D-B495-BA84C2DAABD3}" dt="2020-09-30T12:56:46.927" v="543" actId="1076"/>
          <ac:grpSpMkLst>
            <pc:docMk/>
            <pc:sldMk cId="978387420" sldId="1629"/>
            <ac:grpSpMk id="54" creationId="{EDB0E970-018D-4E86-9312-97EAA474DBF0}"/>
          </ac:grpSpMkLst>
        </pc:grpChg>
        <pc:grpChg chg="del">
          <ac:chgData name="Manuela Pichler" userId="07a841c1-49c8-4352-a8c3-3a0d96cf9a08" providerId="ADAL" clId="{F7D784F4-EDA8-4F5D-B495-BA84C2DAABD3}" dt="2020-09-30T12:56:39.314" v="539" actId="478"/>
          <ac:grpSpMkLst>
            <pc:docMk/>
            <pc:sldMk cId="978387420" sldId="1629"/>
            <ac:grpSpMk id="80" creationId="{48EF51B5-945D-4557-949A-EB651317BB95}"/>
          </ac:grpSpMkLst>
        </pc:grpChg>
        <pc:grpChg chg="del">
          <ac:chgData name="Manuela Pichler" userId="07a841c1-49c8-4352-a8c3-3a0d96cf9a08" providerId="ADAL" clId="{F7D784F4-EDA8-4F5D-B495-BA84C2DAABD3}" dt="2020-09-30T12:56:43.802" v="541" actId="478"/>
          <ac:grpSpMkLst>
            <pc:docMk/>
            <pc:sldMk cId="978387420" sldId="1629"/>
            <ac:grpSpMk id="98" creationId="{5E5FDD2B-D2D9-48EA-95AA-02774F0CD9DE}"/>
          </ac:grpSpMkLst>
        </pc:grpChg>
        <pc:picChg chg="mod">
          <ac:chgData name="Manuela Pichler" userId="07a841c1-49c8-4352-a8c3-3a0d96cf9a08" providerId="ADAL" clId="{F7D784F4-EDA8-4F5D-B495-BA84C2DAABD3}" dt="2020-09-30T12:56:40.591" v="540"/>
          <ac:picMkLst>
            <pc:docMk/>
            <pc:sldMk cId="978387420" sldId="1629"/>
            <ac:picMk id="46" creationId="{08CD2589-A4B4-42D5-9943-33FE9E15D81A}"/>
          </ac:picMkLst>
        </pc:picChg>
        <pc:picChg chg="mod">
          <ac:chgData name="Manuela Pichler" userId="07a841c1-49c8-4352-a8c3-3a0d96cf9a08" providerId="ADAL" clId="{F7D784F4-EDA8-4F5D-B495-BA84C2DAABD3}" dt="2020-09-30T12:56:40.591" v="540"/>
          <ac:picMkLst>
            <pc:docMk/>
            <pc:sldMk cId="978387420" sldId="1629"/>
            <ac:picMk id="49" creationId="{18192863-568F-451F-85DE-29A802BE5223}"/>
          </ac:picMkLst>
        </pc:picChg>
        <pc:picChg chg="mod">
          <ac:chgData name="Manuela Pichler" userId="07a841c1-49c8-4352-a8c3-3a0d96cf9a08" providerId="ADAL" clId="{F7D784F4-EDA8-4F5D-B495-BA84C2DAABD3}" dt="2020-09-30T12:56:46.927" v="543" actId="1076"/>
          <ac:picMkLst>
            <pc:docMk/>
            <pc:sldMk cId="978387420" sldId="1629"/>
            <ac:picMk id="55" creationId="{AFE93539-5825-4EA0-9DB0-DB2DB9D98026}"/>
          </ac:picMkLst>
        </pc:picChg>
        <pc:picChg chg="mod">
          <ac:chgData name="Manuela Pichler" userId="07a841c1-49c8-4352-a8c3-3a0d96cf9a08" providerId="ADAL" clId="{F7D784F4-EDA8-4F5D-B495-BA84C2DAABD3}" dt="2020-09-30T12:56:46.927" v="543" actId="1076"/>
          <ac:picMkLst>
            <pc:docMk/>
            <pc:sldMk cId="978387420" sldId="1629"/>
            <ac:picMk id="56" creationId="{AA351746-8E77-4033-AB3A-9CD0C873812C}"/>
          </ac:picMkLst>
        </pc:picChg>
      </pc:sldChg>
      <pc:sldChg chg="addSp delSp modSp add">
        <pc:chgData name="Manuela Pichler" userId="07a841c1-49c8-4352-a8c3-3a0d96cf9a08" providerId="ADAL" clId="{F7D784F4-EDA8-4F5D-B495-BA84C2DAABD3}" dt="2020-09-30T12:56:57.167" v="548" actId="1076"/>
        <pc:sldMkLst>
          <pc:docMk/>
          <pc:sldMk cId="2008698600" sldId="1630"/>
        </pc:sldMkLst>
        <pc:spChg chg="mod">
          <ac:chgData name="Manuela Pichler" userId="07a841c1-49c8-4352-a8c3-3a0d96cf9a08" providerId="ADAL" clId="{F7D784F4-EDA8-4F5D-B495-BA84C2DAABD3}" dt="2020-09-30T12:56:50.866" v="545"/>
          <ac:spMkLst>
            <pc:docMk/>
            <pc:sldMk cId="2008698600" sldId="1630"/>
            <ac:spMk id="45" creationId="{D2B0A11F-E202-4381-B383-4CB03BECB8BE}"/>
          </ac:spMkLst>
        </pc:spChg>
        <pc:spChg chg="mod">
          <ac:chgData name="Manuela Pichler" userId="07a841c1-49c8-4352-a8c3-3a0d96cf9a08" providerId="ADAL" clId="{F7D784F4-EDA8-4F5D-B495-BA84C2DAABD3}" dt="2020-09-30T12:56:50.866" v="545"/>
          <ac:spMkLst>
            <pc:docMk/>
            <pc:sldMk cId="2008698600" sldId="1630"/>
            <ac:spMk id="53" creationId="{6FA61B17-CDAF-4655-B5D6-F5B2ADA270E4}"/>
          </ac:spMkLst>
        </pc:spChg>
        <pc:spChg chg="mod">
          <ac:chgData name="Manuela Pichler" userId="07a841c1-49c8-4352-a8c3-3a0d96cf9a08" providerId="ADAL" clId="{F7D784F4-EDA8-4F5D-B495-BA84C2DAABD3}" dt="2020-09-30T12:56:50.866" v="545"/>
          <ac:spMkLst>
            <pc:docMk/>
            <pc:sldMk cId="2008698600" sldId="1630"/>
            <ac:spMk id="54" creationId="{9B16D623-C1E8-4759-9ACE-4331D8038913}"/>
          </ac:spMkLst>
        </pc:spChg>
        <pc:spChg chg="mod">
          <ac:chgData name="Manuela Pichler" userId="07a841c1-49c8-4352-a8c3-3a0d96cf9a08" providerId="ADAL" clId="{F7D784F4-EDA8-4F5D-B495-BA84C2DAABD3}" dt="2020-09-30T12:56:57.167" v="548" actId="1076"/>
          <ac:spMkLst>
            <pc:docMk/>
            <pc:sldMk cId="2008698600" sldId="1630"/>
            <ac:spMk id="58" creationId="{8AED1F85-3CF5-498F-B813-72C90C3A56B9}"/>
          </ac:spMkLst>
        </pc:spChg>
        <pc:spChg chg="mod">
          <ac:chgData name="Manuela Pichler" userId="07a841c1-49c8-4352-a8c3-3a0d96cf9a08" providerId="ADAL" clId="{F7D784F4-EDA8-4F5D-B495-BA84C2DAABD3}" dt="2020-09-30T12:56:57.167" v="548" actId="1076"/>
          <ac:spMkLst>
            <pc:docMk/>
            <pc:sldMk cId="2008698600" sldId="1630"/>
            <ac:spMk id="63" creationId="{0EC0AA69-B10C-424B-B561-AB37A66897DC}"/>
          </ac:spMkLst>
        </pc:spChg>
        <pc:spChg chg="mod">
          <ac:chgData name="Manuela Pichler" userId="07a841c1-49c8-4352-a8c3-3a0d96cf9a08" providerId="ADAL" clId="{F7D784F4-EDA8-4F5D-B495-BA84C2DAABD3}" dt="2020-09-30T12:56:57.167" v="548" actId="1076"/>
          <ac:spMkLst>
            <pc:docMk/>
            <pc:sldMk cId="2008698600" sldId="1630"/>
            <ac:spMk id="64" creationId="{9CFCFF49-12A8-4331-B791-FBD0841DFF39}"/>
          </ac:spMkLst>
        </pc:spChg>
        <pc:spChg chg="del">
          <ac:chgData name="Manuela Pichler" userId="07a841c1-49c8-4352-a8c3-3a0d96cf9a08" providerId="ADAL" clId="{F7D784F4-EDA8-4F5D-B495-BA84C2DAABD3}" dt="2020-09-30T12:56:50.491" v="544" actId="478"/>
          <ac:spMkLst>
            <pc:docMk/>
            <pc:sldMk cId="2008698600" sldId="1630"/>
            <ac:spMk id="68" creationId="{384BCD3C-B3DF-482C-A6E0-6FF60E6FA847}"/>
          </ac:spMkLst>
        </pc:spChg>
        <pc:spChg chg="del">
          <ac:chgData name="Manuela Pichler" userId="07a841c1-49c8-4352-a8c3-3a0d96cf9a08" providerId="ADAL" clId="{F7D784F4-EDA8-4F5D-B495-BA84C2DAABD3}" dt="2020-09-30T12:56:53.739" v="546" actId="478"/>
          <ac:spMkLst>
            <pc:docMk/>
            <pc:sldMk cId="2008698600" sldId="1630"/>
            <ac:spMk id="85" creationId="{15DC2D72-1C51-457E-A1E8-E3B5B82EE142}"/>
          </ac:spMkLst>
        </pc:spChg>
        <pc:grpChg chg="add mod">
          <ac:chgData name="Manuela Pichler" userId="07a841c1-49c8-4352-a8c3-3a0d96cf9a08" providerId="ADAL" clId="{F7D784F4-EDA8-4F5D-B495-BA84C2DAABD3}" dt="2020-09-30T12:56:50.866" v="545"/>
          <ac:grpSpMkLst>
            <pc:docMk/>
            <pc:sldMk cId="2008698600" sldId="1630"/>
            <ac:grpSpMk id="44" creationId="{F915C0A7-226D-45F4-AF43-14E6D04F1394}"/>
          </ac:grpSpMkLst>
        </pc:grpChg>
        <pc:grpChg chg="mod">
          <ac:chgData name="Manuela Pichler" userId="07a841c1-49c8-4352-a8c3-3a0d96cf9a08" providerId="ADAL" clId="{F7D784F4-EDA8-4F5D-B495-BA84C2DAABD3}" dt="2020-09-30T12:56:50.866" v="545"/>
          <ac:grpSpMkLst>
            <pc:docMk/>
            <pc:sldMk cId="2008698600" sldId="1630"/>
            <ac:grpSpMk id="49" creationId="{F828CDFD-AC7C-44DB-BB36-BB05BC7CCBAE}"/>
          </ac:grpSpMkLst>
        </pc:grpChg>
        <pc:grpChg chg="add mod">
          <ac:chgData name="Manuela Pichler" userId="07a841c1-49c8-4352-a8c3-3a0d96cf9a08" providerId="ADAL" clId="{F7D784F4-EDA8-4F5D-B495-BA84C2DAABD3}" dt="2020-09-30T12:56:57.167" v="548" actId="1076"/>
          <ac:grpSpMkLst>
            <pc:docMk/>
            <pc:sldMk cId="2008698600" sldId="1630"/>
            <ac:grpSpMk id="55" creationId="{5C824AE8-7EE4-4089-B692-255BB643A44D}"/>
          </ac:grpSpMkLst>
        </pc:grpChg>
        <pc:grpChg chg="mod">
          <ac:chgData name="Manuela Pichler" userId="07a841c1-49c8-4352-a8c3-3a0d96cf9a08" providerId="ADAL" clId="{F7D784F4-EDA8-4F5D-B495-BA84C2DAABD3}" dt="2020-09-30T12:56:57.167" v="548" actId="1076"/>
          <ac:grpSpMkLst>
            <pc:docMk/>
            <pc:sldMk cId="2008698600" sldId="1630"/>
            <ac:grpSpMk id="59" creationId="{00809581-C29A-4631-8C08-22D3F14AAC57}"/>
          </ac:grpSpMkLst>
        </pc:grpChg>
        <pc:grpChg chg="del">
          <ac:chgData name="Manuela Pichler" userId="07a841c1-49c8-4352-a8c3-3a0d96cf9a08" providerId="ADAL" clId="{F7D784F4-EDA8-4F5D-B495-BA84C2DAABD3}" dt="2020-09-30T12:56:50.491" v="544" actId="478"/>
          <ac:grpSpMkLst>
            <pc:docMk/>
            <pc:sldMk cId="2008698600" sldId="1630"/>
            <ac:grpSpMk id="69" creationId="{A30666DB-B8E3-4505-A674-6028D95C4BD6}"/>
          </ac:grpSpMkLst>
        </pc:grpChg>
        <pc:grpChg chg="del">
          <ac:chgData name="Manuela Pichler" userId="07a841c1-49c8-4352-a8c3-3a0d96cf9a08" providerId="ADAL" clId="{F7D784F4-EDA8-4F5D-B495-BA84C2DAABD3}" dt="2020-09-30T12:56:53.739" v="546" actId="478"/>
          <ac:grpSpMkLst>
            <pc:docMk/>
            <pc:sldMk cId="2008698600" sldId="1630"/>
            <ac:grpSpMk id="89" creationId="{4B437819-D824-4ED9-9344-6803BA153855}"/>
          </ac:grpSpMkLst>
        </pc:grpChg>
        <pc:picChg chg="mod">
          <ac:chgData name="Manuela Pichler" userId="07a841c1-49c8-4352-a8c3-3a0d96cf9a08" providerId="ADAL" clId="{F7D784F4-EDA8-4F5D-B495-BA84C2DAABD3}" dt="2020-09-30T12:56:50.866" v="545"/>
          <ac:picMkLst>
            <pc:docMk/>
            <pc:sldMk cId="2008698600" sldId="1630"/>
            <ac:picMk id="51" creationId="{8E9FBDBF-8941-4959-8C21-7FB69999BB15}"/>
          </ac:picMkLst>
        </pc:picChg>
        <pc:picChg chg="mod">
          <ac:chgData name="Manuela Pichler" userId="07a841c1-49c8-4352-a8c3-3a0d96cf9a08" providerId="ADAL" clId="{F7D784F4-EDA8-4F5D-B495-BA84C2DAABD3}" dt="2020-09-30T12:56:50.866" v="545"/>
          <ac:picMkLst>
            <pc:docMk/>
            <pc:sldMk cId="2008698600" sldId="1630"/>
            <ac:picMk id="52" creationId="{F0F75F20-0BA0-422C-8C26-F901CBD4302E}"/>
          </ac:picMkLst>
        </pc:picChg>
        <pc:picChg chg="mod">
          <ac:chgData name="Manuela Pichler" userId="07a841c1-49c8-4352-a8c3-3a0d96cf9a08" providerId="ADAL" clId="{F7D784F4-EDA8-4F5D-B495-BA84C2DAABD3}" dt="2020-09-30T12:56:57.167" v="548" actId="1076"/>
          <ac:picMkLst>
            <pc:docMk/>
            <pc:sldMk cId="2008698600" sldId="1630"/>
            <ac:picMk id="60" creationId="{0E68B5D7-CEFF-4D16-BA4C-4BEE4095C6E4}"/>
          </ac:picMkLst>
        </pc:picChg>
        <pc:picChg chg="mod">
          <ac:chgData name="Manuela Pichler" userId="07a841c1-49c8-4352-a8c3-3a0d96cf9a08" providerId="ADAL" clId="{F7D784F4-EDA8-4F5D-B495-BA84C2DAABD3}" dt="2020-09-30T12:56:57.167" v="548" actId="1076"/>
          <ac:picMkLst>
            <pc:docMk/>
            <pc:sldMk cId="2008698600" sldId="1630"/>
            <ac:picMk id="62" creationId="{C1FC85D7-1A0C-4254-9C77-CF9A0895B759}"/>
          </ac:picMkLst>
        </pc:picChg>
      </pc:sldChg>
      <pc:sldChg chg="add">
        <pc:chgData name="Manuela Pichler" userId="07a841c1-49c8-4352-a8c3-3a0d96cf9a08" providerId="ADAL" clId="{F7D784F4-EDA8-4F5D-B495-BA84C2DAABD3}" dt="2020-09-30T11:24:48.501" v="318"/>
        <pc:sldMkLst>
          <pc:docMk/>
          <pc:sldMk cId="509926583" sldId="1690"/>
        </pc:sldMkLst>
      </pc:sldChg>
      <pc:sldChg chg="add">
        <pc:chgData name="Manuela Pichler" userId="07a841c1-49c8-4352-a8c3-3a0d96cf9a08" providerId="ADAL" clId="{F7D784F4-EDA8-4F5D-B495-BA84C2DAABD3}" dt="2020-09-30T11:24:48.501" v="318"/>
        <pc:sldMkLst>
          <pc:docMk/>
          <pc:sldMk cId="3925769836" sldId="1691"/>
        </pc:sldMkLst>
      </pc:sldChg>
      <pc:sldChg chg="del">
        <pc:chgData name="Manuela Pichler" userId="07a841c1-49c8-4352-a8c3-3a0d96cf9a08" providerId="ADAL" clId="{F7D784F4-EDA8-4F5D-B495-BA84C2DAABD3}" dt="2020-09-30T11:24:51.558" v="319" actId="47"/>
        <pc:sldMkLst>
          <pc:docMk/>
          <pc:sldMk cId="861485224" sldId="3805"/>
        </pc:sldMkLst>
      </pc:sldChg>
      <pc:sldChg chg="del">
        <pc:chgData name="Manuela Pichler" userId="07a841c1-49c8-4352-a8c3-3a0d96cf9a08" providerId="ADAL" clId="{F7D784F4-EDA8-4F5D-B495-BA84C2DAABD3}" dt="2020-09-30T11:27:07.075" v="373" actId="47"/>
        <pc:sldMkLst>
          <pc:docMk/>
          <pc:sldMk cId="1103579216" sldId="10339"/>
        </pc:sldMkLst>
      </pc:sldChg>
      <pc:sldChg chg="modSp mod">
        <pc:chgData name="Manuela Pichler" userId="07a841c1-49c8-4352-a8c3-3a0d96cf9a08" providerId="ADAL" clId="{F7D784F4-EDA8-4F5D-B495-BA84C2DAABD3}" dt="2020-09-30T11:19:17.233" v="236"/>
        <pc:sldMkLst>
          <pc:docMk/>
          <pc:sldMk cId="1096705017" sldId="10341"/>
        </pc:sldMkLst>
        <pc:graphicFrameChg chg="mod modGraphic">
          <ac:chgData name="Manuela Pichler" userId="07a841c1-49c8-4352-a8c3-3a0d96cf9a08" providerId="ADAL" clId="{F7D784F4-EDA8-4F5D-B495-BA84C2DAABD3}" dt="2020-09-30T11:19:17.233" v="236"/>
          <ac:graphicFrameMkLst>
            <pc:docMk/>
            <pc:sldMk cId="1096705017" sldId="10341"/>
            <ac:graphicFrameMk id="4" creationId="{3F348A8F-B674-44BF-8ED5-55DDEBF958ED}"/>
          </ac:graphicFrameMkLst>
        </pc:graphicFrameChg>
      </pc:sldChg>
      <pc:sldChg chg="del">
        <pc:chgData name="Manuela Pichler" userId="07a841c1-49c8-4352-a8c3-3a0d96cf9a08" providerId="ADAL" clId="{F7D784F4-EDA8-4F5D-B495-BA84C2DAABD3}" dt="2020-09-30T11:24:53.194" v="320" actId="47"/>
        <pc:sldMkLst>
          <pc:docMk/>
          <pc:sldMk cId="2138284134" sldId="10348"/>
        </pc:sldMkLst>
      </pc:sldChg>
      <pc:sldChg chg="del">
        <pc:chgData name="Manuela Pichler" userId="07a841c1-49c8-4352-a8c3-3a0d96cf9a08" providerId="ADAL" clId="{F7D784F4-EDA8-4F5D-B495-BA84C2DAABD3}" dt="2020-09-30T11:23:05.687" v="287" actId="47"/>
        <pc:sldMkLst>
          <pc:docMk/>
          <pc:sldMk cId="203355081" sldId="10350"/>
        </pc:sldMkLst>
      </pc:sldChg>
      <pc:sldChg chg="del">
        <pc:chgData name="Manuela Pichler" userId="07a841c1-49c8-4352-a8c3-3a0d96cf9a08" providerId="ADAL" clId="{F7D784F4-EDA8-4F5D-B495-BA84C2DAABD3}" dt="2020-09-30T11:24:58.612" v="321" actId="47"/>
        <pc:sldMkLst>
          <pc:docMk/>
          <pc:sldMk cId="3506995708" sldId="10351"/>
        </pc:sldMkLst>
      </pc:sldChg>
      <pc:sldChg chg="del">
        <pc:chgData name="Manuela Pichler" userId="07a841c1-49c8-4352-a8c3-3a0d96cf9a08" providerId="ADAL" clId="{F7D784F4-EDA8-4F5D-B495-BA84C2DAABD3}" dt="2020-09-30T11:24:58.612" v="321" actId="47"/>
        <pc:sldMkLst>
          <pc:docMk/>
          <pc:sldMk cId="672698887" sldId="10352"/>
        </pc:sldMkLst>
      </pc:sldChg>
      <pc:sldChg chg="del">
        <pc:chgData name="Manuela Pichler" userId="07a841c1-49c8-4352-a8c3-3a0d96cf9a08" providerId="ADAL" clId="{F7D784F4-EDA8-4F5D-B495-BA84C2DAABD3}" dt="2020-09-30T12:51:08.270" v="419" actId="47"/>
        <pc:sldMkLst>
          <pc:docMk/>
          <pc:sldMk cId="2118820782" sldId="10387"/>
        </pc:sldMkLst>
      </pc:sldChg>
      <pc:sldChg chg="del">
        <pc:chgData name="Manuela Pichler" userId="07a841c1-49c8-4352-a8c3-3a0d96cf9a08" providerId="ADAL" clId="{F7D784F4-EDA8-4F5D-B495-BA84C2DAABD3}" dt="2020-09-30T11:07:32.567" v="57" actId="47"/>
        <pc:sldMkLst>
          <pc:docMk/>
          <pc:sldMk cId="2251549637" sldId="2076136437"/>
        </pc:sldMkLst>
      </pc:sldChg>
      <pc:sldChg chg="del">
        <pc:chgData name="Manuela Pichler" userId="07a841c1-49c8-4352-a8c3-3a0d96cf9a08" providerId="ADAL" clId="{F7D784F4-EDA8-4F5D-B495-BA84C2DAABD3}" dt="2020-09-30T11:07:32.567" v="57" actId="47"/>
        <pc:sldMkLst>
          <pc:docMk/>
          <pc:sldMk cId="2729454466" sldId="2076136438"/>
        </pc:sldMkLst>
      </pc:sldChg>
      <pc:sldChg chg="addSp delSp del mod">
        <pc:chgData name="Manuela Pichler" userId="07a841c1-49c8-4352-a8c3-3a0d96cf9a08" providerId="ADAL" clId="{F7D784F4-EDA8-4F5D-B495-BA84C2DAABD3}" dt="2020-09-30T11:29:28.253" v="418" actId="47"/>
        <pc:sldMkLst>
          <pc:docMk/>
          <pc:sldMk cId="2114040339" sldId="2076136439"/>
        </pc:sldMkLst>
        <pc:picChg chg="add del">
          <ac:chgData name="Manuela Pichler" userId="07a841c1-49c8-4352-a8c3-3a0d96cf9a08" providerId="ADAL" clId="{F7D784F4-EDA8-4F5D-B495-BA84C2DAABD3}" dt="2020-09-30T11:29:03.794" v="413" actId="22"/>
          <ac:picMkLst>
            <pc:docMk/>
            <pc:sldMk cId="2114040339" sldId="2076136439"/>
            <ac:picMk id="5" creationId="{2A49E304-9D1B-4EA9-B376-A40BEC2A9427}"/>
          </ac:picMkLst>
        </pc:picChg>
      </pc:sldChg>
      <pc:sldChg chg="add">
        <pc:chgData name="Manuela Pichler" userId="07a841c1-49c8-4352-a8c3-3a0d96cf9a08" providerId="ADAL" clId="{F7D784F4-EDA8-4F5D-B495-BA84C2DAABD3}" dt="2020-09-30T11:22:03.051" v="283"/>
        <pc:sldMkLst>
          <pc:docMk/>
          <pc:sldMk cId="3907366946" sldId="2076137562"/>
        </pc:sldMkLst>
      </pc:sldChg>
      <pc:sldChg chg="addSp delSp modSp add del mod">
        <pc:chgData name="Manuela Pichler" userId="07a841c1-49c8-4352-a8c3-3a0d96cf9a08" providerId="ADAL" clId="{F7D784F4-EDA8-4F5D-B495-BA84C2DAABD3}" dt="2020-09-30T11:18:32.079" v="217" actId="14100"/>
        <pc:sldMkLst>
          <pc:docMk/>
          <pc:sldMk cId="1843051144" sldId="2076137608"/>
        </pc:sldMkLst>
        <pc:spChg chg="del">
          <ac:chgData name="Manuela Pichler" userId="07a841c1-49c8-4352-a8c3-3a0d96cf9a08" providerId="ADAL" clId="{F7D784F4-EDA8-4F5D-B495-BA84C2DAABD3}" dt="2020-09-30T11:15:39.165" v="183" actId="478"/>
          <ac:spMkLst>
            <pc:docMk/>
            <pc:sldMk cId="1843051144" sldId="2076137608"/>
            <ac:spMk id="2" creationId="{5ED9C127-428D-4FD1-9E6F-9E0F9603C278}"/>
          </ac:spMkLst>
        </pc:spChg>
        <pc:spChg chg="add del mod">
          <ac:chgData name="Manuela Pichler" userId="07a841c1-49c8-4352-a8c3-3a0d96cf9a08" providerId="ADAL" clId="{F7D784F4-EDA8-4F5D-B495-BA84C2DAABD3}" dt="2020-09-30T11:15:47.704" v="185" actId="478"/>
          <ac:spMkLst>
            <pc:docMk/>
            <pc:sldMk cId="1843051144" sldId="2076137608"/>
            <ac:spMk id="4" creationId="{DE5413B4-52F8-41F6-9DE8-5963BBF7DCFC}"/>
          </ac:spMkLst>
        </pc:spChg>
        <pc:spChg chg="add mod">
          <ac:chgData name="Manuela Pichler" userId="07a841c1-49c8-4352-a8c3-3a0d96cf9a08" providerId="ADAL" clId="{F7D784F4-EDA8-4F5D-B495-BA84C2DAABD3}" dt="2020-09-30T11:15:55.455" v="188" actId="1076"/>
          <ac:spMkLst>
            <pc:docMk/>
            <pc:sldMk cId="1843051144" sldId="2076137608"/>
            <ac:spMk id="5" creationId="{7581E3C3-C661-4DB1-A8B6-C05409D8005A}"/>
          </ac:spMkLst>
        </pc:spChg>
        <pc:spChg chg="add mod">
          <ac:chgData name="Manuela Pichler" userId="07a841c1-49c8-4352-a8c3-3a0d96cf9a08" providerId="ADAL" clId="{F7D784F4-EDA8-4F5D-B495-BA84C2DAABD3}" dt="2020-09-30T11:15:13.350" v="180" actId="1076"/>
          <ac:spMkLst>
            <pc:docMk/>
            <pc:sldMk cId="1843051144" sldId="2076137608"/>
            <ac:spMk id="6" creationId="{CDF46E29-2BC2-4679-91F7-F48A1C2686B0}"/>
          </ac:spMkLst>
        </pc:spChg>
        <pc:spChg chg="add mod">
          <ac:chgData name="Manuela Pichler" userId="07a841c1-49c8-4352-a8c3-3a0d96cf9a08" providerId="ADAL" clId="{F7D784F4-EDA8-4F5D-B495-BA84C2DAABD3}" dt="2020-09-30T11:15:55.455" v="188" actId="1076"/>
          <ac:spMkLst>
            <pc:docMk/>
            <pc:sldMk cId="1843051144" sldId="2076137608"/>
            <ac:spMk id="6" creationId="{F989A6A7-7CCD-4E00-8108-B98D9B1E5C4D}"/>
          </ac:spMkLst>
        </pc:spChg>
        <pc:spChg chg="add mod">
          <ac:chgData name="Manuela Pichler" userId="07a841c1-49c8-4352-a8c3-3a0d96cf9a08" providerId="ADAL" clId="{F7D784F4-EDA8-4F5D-B495-BA84C2DAABD3}" dt="2020-09-30T11:15:13.350" v="180" actId="1076"/>
          <ac:spMkLst>
            <pc:docMk/>
            <pc:sldMk cId="1843051144" sldId="2076137608"/>
            <ac:spMk id="10" creationId="{C8AE4FFA-1A6B-4C89-AB8F-DA58F4410FB6}"/>
          </ac:spMkLst>
        </pc:spChg>
        <pc:spChg chg="add mod">
          <ac:chgData name="Manuela Pichler" userId="07a841c1-49c8-4352-a8c3-3a0d96cf9a08" providerId="ADAL" clId="{F7D784F4-EDA8-4F5D-B495-BA84C2DAABD3}" dt="2020-09-30T11:15:13.350" v="180" actId="1076"/>
          <ac:spMkLst>
            <pc:docMk/>
            <pc:sldMk cId="1843051144" sldId="2076137608"/>
            <ac:spMk id="11" creationId="{DDCB1BDA-AC3B-4D00-BB78-5152ADC4E157}"/>
          </ac:spMkLst>
        </pc:spChg>
        <pc:spChg chg="add mod">
          <ac:chgData name="Manuela Pichler" userId="07a841c1-49c8-4352-a8c3-3a0d96cf9a08" providerId="ADAL" clId="{F7D784F4-EDA8-4F5D-B495-BA84C2DAABD3}" dt="2020-09-30T11:15:13.350" v="180" actId="1076"/>
          <ac:spMkLst>
            <pc:docMk/>
            <pc:sldMk cId="1843051144" sldId="2076137608"/>
            <ac:spMk id="12" creationId="{79EF09BA-0468-484B-8062-89A2EC406059}"/>
          </ac:spMkLst>
        </pc:spChg>
        <pc:spChg chg="add mod">
          <ac:chgData name="Manuela Pichler" userId="07a841c1-49c8-4352-a8c3-3a0d96cf9a08" providerId="ADAL" clId="{F7D784F4-EDA8-4F5D-B495-BA84C2DAABD3}" dt="2020-09-30T11:15:13.350" v="180" actId="1076"/>
          <ac:spMkLst>
            <pc:docMk/>
            <pc:sldMk cId="1843051144" sldId="2076137608"/>
            <ac:spMk id="13" creationId="{E5F1CD7F-45ED-4A44-82FB-923E28B7BE16}"/>
          </ac:spMkLst>
        </pc:spChg>
        <pc:spChg chg="mod">
          <ac:chgData name="Manuela Pichler" userId="07a841c1-49c8-4352-a8c3-3a0d96cf9a08" providerId="ADAL" clId="{F7D784F4-EDA8-4F5D-B495-BA84C2DAABD3}" dt="2020-09-30T11:14:37.765" v="126" actId="1076"/>
          <ac:spMkLst>
            <pc:docMk/>
            <pc:sldMk cId="1843051144" sldId="2076137608"/>
            <ac:spMk id="91" creationId="{D37B4A5F-03FC-4231-97D2-C0E50E87689D}"/>
          </ac:spMkLst>
        </pc:spChg>
        <pc:spChg chg="mod">
          <ac:chgData name="Manuela Pichler" userId="07a841c1-49c8-4352-a8c3-3a0d96cf9a08" providerId="ADAL" clId="{F7D784F4-EDA8-4F5D-B495-BA84C2DAABD3}" dt="2020-09-30T11:14:37.765" v="126" actId="1076"/>
          <ac:spMkLst>
            <pc:docMk/>
            <pc:sldMk cId="1843051144" sldId="2076137608"/>
            <ac:spMk id="95" creationId="{A8289933-2D1B-43C7-B6D2-572BF1A3CB5F}"/>
          </ac:spMkLst>
        </pc:spChg>
        <pc:spChg chg="mod">
          <ac:chgData name="Manuela Pichler" userId="07a841c1-49c8-4352-a8c3-3a0d96cf9a08" providerId="ADAL" clId="{F7D784F4-EDA8-4F5D-B495-BA84C2DAABD3}" dt="2020-09-30T11:14:37.765" v="126" actId="1076"/>
          <ac:spMkLst>
            <pc:docMk/>
            <pc:sldMk cId="1843051144" sldId="2076137608"/>
            <ac:spMk id="96" creationId="{16474627-6D48-4FBA-907A-7A336BEBA4FD}"/>
          </ac:spMkLst>
        </pc:spChg>
        <pc:spChg chg="mod">
          <ac:chgData name="Manuela Pichler" userId="07a841c1-49c8-4352-a8c3-3a0d96cf9a08" providerId="ADAL" clId="{F7D784F4-EDA8-4F5D-B495-BA84C2DAABD3}" dt="2020-09-30T11:14:37.765" v="126" actId="1076"/>
          <ac:spMkLst>
            <pc:docMk/>
            <pc:sldMk cId="1843051144" sldId="2076137608"/>
            <ac:spMk id="97" creationId="{E7DD6974-9F39-4167-8DEE-4299F0B9FDB8}"/>
          </ac:spMkLst>
        </pc:spChg>
        <pc:spChg chg="del mod">
          <ac:chgData name="Manuela Pichler" userId="07a841c1-49c8-4352-a8c3-3a0d96cf9a08" providerId="ADAL" clId="{F7D784F4-EDA8-4F5D-B495-BA84C2DAABD3}" dt="2020-09-30T11:18:16.004" v="212" actId="478"/>
          <ac:spMkLst>
            <pc:docMk/>
            <pc:sldMk cId="1843051144" sldId="2076137608"/>
            <ac:spMk id="98" creationId="{A5F6BEDB-DADE-40F0-AB54-6E1338F501BE}"/>
          </ac:spMkLst>
        </pc:spChg>
        <pc:spChg chg="del mod">
          <ac:chgData name="Manuela Pichler" userId="07a841c1-49c8-4352-a8c3-3a0d96cf9a08" providerId="ADAL" clId="{F7D784F4-EDA8-4F5D-B495-BA84C2DAABD3}" dt="2020-09-30T11:18:05.658" v="211" actId="478"/>
          <ac:spMkLst>
            <pc:docMk/>
            <pc:sldMk cId="1843051144" sldId="2076137608"/>
            <ac:spMk id="99" creationId="{5E4A5CF8-A721-44DE-847F-A4BB8252716E}"/>
          </ac:spMkLst>
        </pc:spChg>
        <pc:spChg chg="del mod">
          <ac:chgData name="Manuela Pichler" userId="07a841c1-49c8-4352-a8c3-3a0d96cf9a08" providerId="ADAL" clId="{F7D784F4-EDA8-4F5D-B495-BA84C2DAABD3}" dt="2020-09-30T11:17:59.861" v="207" actId="478"/>
          <ac:spMkLst>
            <pc:docMk/>
            <pc:sldMk cId="1843051144" sldId="2076137608"/>
            <ac:spMk id="100" creationId="{45C1FAE4-3A3D-4BE9-A4A4-59F216129347}"/>
          </ac:spMkLst>
        </pc:spChg>
        <pc:spChg chg="mod ord">
          <ac:chgData name="Manuela Pichler" userId="07a841c1-49c8-4352-a8c3-3a0d96cf9a08" providerId="ADAL" clId="{F7D784F4-EDA8-4F5D-B495-BA84C2DAABD3}" dt="2020-09-30T11:14:53.454" v="175" actId="167"/>
          <ac:spMkLst>
            <pc:docMk/>
            <pc:sldMk cId="1843051144" sldId="2076137608"/>
            <ac:spMk id="101" creationId="{0CC4843D-BB96-4EDD-8187-06A99E3D15AA}"/>
          </ac:spMkLst>
        </pc:spChg>
        <pc:spChg chg="del mod">
          <ac:chgData name="Manuela Pichler" userId="07a841c1-49c8-4352-a8c3-3a0d96cf9a08" providerId="ADAL" clId="{F7D784F4-EDA8-4F5D-B495-BA84C2DAABD3}" dt="2020-09-30T11:17:53.338" v="203" actId="478"/>
          <ac:spMkLst>
            <pc:docMk/>
            <pc:sldMk cId="1843051144" sldId="2076137608"/>
            <ac:spMk id="102" creationId="{0A32FE2F-D256-4CFB-9877-4D3241D882C0}"/>
          </ac:spMkLst>
        </pc:spChg>
        <pc:spChg chg="del mod">
          <ac:chgData name="Manuela Pichler" userId="07a841c1-49c8-4352-a8c3-3a0d96cf9a08" providerId="ADAL" clId="{F7D784F4-EDA8-4F5D-B495-BA84C2DAABD3}" dt="2020-09-30T11:17:53.338" v="203" actId="478"/>
          <ac:spMkLst>
            <pc:docMk/>
            <pc:sldMk cId="1843051144" sldId="2076137608"/>
            <ac:spMk id="109" creationId="{AF41D504-27ED-41C0-B5A5-6B630BCC8743}"/>
          </ac:spMkLst>
        </pc:spChg>
        <pc:spChg chg="del mod">
          <ac:chgData name="Manuela Pichler" userId="07a841c1-49c8-4352-a8c3-3a0d96cf9a08" providerId="ADAL" clId="{F7D784F4-EDA8-4F5D-B495-BA84C2DAABD3}" dt="2020-09-30T11:18:16.004" v="212" actId="478"/>
          <ac:spMkLst>
            <pc:docMk/>
            <pc:sldMk cId="1843051144" sldId="2076137608"/>
            <ac:spMk id="110" creationId="{57DA2314-2D9D-4466-A593-D5DA06910AA4}"/>
          </ac:spMkLst>
        </pc:spChg>
        <pc:spChg chg="del mod">
          <ac:chgData name="Manuela Pichler" userId="07a841c1-49c8-4352-a8c3-3a0d96cf9a08" providerId="ADAL" clId="{F7D784F4-EDA8-4F5D-B495-BA84C2DAABD3}" dt="2020-09-30T11:18:01.266" v="208" actId="478"/>
          <ac:spMkLst>
            <pc:docMk/>
            <pc:sldMk cId="1843051144" sldId="2076137608"/>
            <ac:spMk id="120" creationId="{247FDF0C-F7F9-455D-9DAF-2038B11716C0}"/>
          </ac:spMkLst>
        </pc:spChg>
        <pc:spChg chg="del mod">
          <ac:chgData name="Manuela Pichler" userId="07a841c1-49c8-4352-a8c3-3a0d96cf9a08" providerId="ADAL" clId="{F7D784F4-EDA8-4F5D-B495-BA84C2DAABD3}" dt="2020-09-30T11:17:57.936" v="206" actId="478"/>
          <ac:spMkLst>
            <pc:docMk/>
            <pc:sldMk cId="1843051144" sldId="2076137608"/>
            <ac:spMk id="121" creationId="{0F4BD1BF-0636-4E3B-BBA2-9934DF2966C9}"/>
          </ac:spMkLst>
        </pc:spChg>
        <pc:spChg chg="del mod">
          <ac:chgData name="Manuela Pichler" userId="07a841c1-49c8-4352-a8c3-3a0d96cf9a08" providerId="ADAL" clId="{F7D784F4-EDA8-4F5D-B495-BA84C2DAABD3}" dt="2020-09-30T11:17:53.338" v="203" actId="478"/>
          <ac:spMkLst>
            <pc:docMk/>
            <pc:sldMk cId="1843051144" sldId="2076137608"/>
            <ac:spMk id="122" creationId="{01CD85BF-6D00-4606-A3D8-8235600A7570}"/>
          </ac:spMkLst>
        </pc:spChg>
        <pc:spChg chg="del mod">
          <ac:chgData name="Manuela Pichler" userId="07a841c1-49c8-4352-a8c3-3a0d96cf9a08" providerId="ADAL" clId="{F7D784F4-EDA8-4F5D-B495-BA84C2DAABD3}" dt="2020-09-30T11:17:53.338" v="203" actId="478"/>
          <ac:spMkLst>
            <pc:docMk/>
            <pc:sldMk cId="1843051144" sldId="2076137608"/>
            <ac:spMk id="123" creationId="{E400D5BC-1052-4180-8408-C80634A689BD}"/>
          </ac:spMkLst>
        </pc:spChg>
        <pc:spChg chg="del mod">
          <ac:chgData name="Manuela Pichler" userId="07a841c1-49c8-4352-a8c3-3a0d96cf9a08" providerId="ADAL" clId="{F7D784F4-EDA8-4F5D-B495-BA84C2DAABD3}" dt="2020-09-30T11:18:04.173" v="210" actId="478"/>
          <ac:spMkLst>
            <pc:docMk/>
            <pc:sldMk cId="1843051144" sldId="2076137608"/>
            <ac:spMk id="127" creationId="{99FE1910-04C2-4F52-AE25-F50616FC79CE}"/>
          </ac:spMkLst>
        </pc:spChg>
        <pc:spChg chg="del mod">
          <ac:chgData name="Manuela Pichler" userId="07a841c1-49c8-4352-a8c3-3a0d96cf9a08" providerId="ADAL" clId="{F7D784F4-EDA8-4F5D-B495-BA84C2DAABD3}" dt="2020-09-30T11:18:02.513" v="209" actId="478"/>
          <ac:spMkLst>
            <pc:docMk/>
            <pc:sldMk cId="1843051144" sldId="2076137608"/>
            <ac:spMk id="128" creationId="{F2FD1A80-B7AF-42FC-9193-00D9DDCACA8A}"/>
          </ac:spMkLst>
        </pc:spChg>
        <pc:spChg chg="del mod">
          <ac:chgData name="Manuela Pichler" userId="07a841c1-49c8-4352-a8c3-3a0d96cf9a08" providerId="ADAL" clId="{F7D784F4-EDA8-4F5D-B495-BA84C2DAABD3}" dt="2020-09-30T11:18:18.472" v="213" actId="478"/>
          <ac:spMkLst>
            <pc:docMk/>
            <pc:sldMk cId="1843051144" sldId="2076137608"/>
            <ac:spMk id="185" creationId="{D86884D1-3800-4197-871C-1E61EB782425}"/>
          </ac:spMkLst>
        </pc:spChg>
        <pc:spChg chg="del mod">
          <ac:chgData name="Manuela Pichler" userId="07a841c1-49c8-4352-a8c3-3a0d96cf9a08" providerId="ADAL" clId="{F7D784F4-EDA8-4F5D-B495-BA84C2DAABD3}" dt="2020-09-30T11:18:16.004" v="212" actId="478"/>
          <ac:spMkLst>
            <pc:docMk/>
            <pc:sldMk cId="1843051144" sldId="2076137608"/>
            <ac:spMk id="186" creationId="{4332B50E-3743-4D3C-848A-AB5036C7394B}"/>
          </ac:spMkLst>
        </pc:spChg>
        <pc:spChg chg="del mod">
          <ac:chgData name="Manuela Pichler" userId="07a841c1-49c8-4352-a8c3-3a0d96cf9a08" providerId="ADAL" clId="{F7D784F4-EDA8-4F5D-B495-BA84C2DAABD3}" dt="2020-09-30T11:18:20.033" v="214" actId="478"/>
          <ac:spMkLst>
            <pc:docMk/>
            <pc:sldMk cId="1843051144" sldId="2076137608"/>
            <ac:spMk id="187" creationId="{17C3DCA2-4E39-40F1-BF6C-3CD3F0C3E3A0}"/>
          </ac:spMkLst>
        </pc:spChg>
        <pc:spChg chg="del mod">
          <ac:chgData name="Manuela Pichler" userId="07a841c1-49c8-4352-a8c3-3a0d96cf9a08" providerId="ADAL" clId="{F7D784F4-EDA8-4F5D-B495-BA84C2DAABD3}" dt="2020-09-30T11:18:16.004" v="212" actId="478"/>
          <ac:spMkLst>
            <pc:docMk/>
            <pc:sldMk cId="1843051144" sldId="2076137608"/>
            <ac:spMk id="188" creationId="{DE382996-0972-468A-AA3F-5BF054311C1C}"/>
          </ac:spMkLst>
        </pc:spChg>
        <pc:spChg chg="del mod">
          <ac:chgData name="Manuela Pichler" userId="07a841c1-49c8-4352-a8c3-3a0d96cf9a08" providerId="ADAL" clId="{F7D784F4-EDA8-4F5D-B495-BA84C2DAABD3}" dt="2020-09-30T11:17:53.338" v="203" actId="478"/>
          <ac:spMkLst>
            <pc:docMk/>
            <pc:sldMk cId="1843051144" sldId="2076137608"/>
            <ac:spMk id="189" creationId="{3D0B5F1F-2B35-4813-8F98-F932702EC655}"/>
          </ac:spMkLst>
        </pc:spChg>
        <pc:spChg chg="del">
          <ac:chgData name="Manuela Pichler" userId="07a841c1-49c8-4352-a8c3-3a0d96cf9a08" providerId="ADAL" clId="{F7D784F4-EDA8-4F5D-B495-BA84C2DAABD3}" dt="2020-09-30T11:15:50.165" v="187" actId="478"/>
          <ac:spMkLst>
            <pc:docMk/>
            <pc:sldMk cId="1843051144" sldId="2076137608"/>
            <ac:spMk id="192" creationId="{09727674-CC50-4B75-BED4-F343DC053218}"/>
          </ac:spMkLst>
        </pc:spChg>
        <pc:spChg chg="del">
          <ac:chgData name="Manuela Pichler" userId="07a841c1-49c8-4352-a8c3-3a0d96cf9a08" providerId="ADAL" clId="{F7D784F4-EDA8-4F5D-B495-BA84C2DAABD3}" dt="2020-09-30T11:15:49.550" v="186" actId="478"/>
          <ac:spMkLst>
            <pc:docMk/>
            <pc:sldMk cId="1843051144" sldId="2076137608"/>
            <ac:spMk id="193" creationId="{AA3D74CF-726A-4CFB-BA92-4A43B8B9622E}"/>
          </ac:spMkLst>
        </pc:spChg>
        <pc:spChg chg="del mod">
          <ac:chgData name="Manuela Pichler" userId="07a841c1-49c8-4352-a8c3-3a0d96cf9a08" providerId="ADAL" clId="{F7D784F4-EDA8-4F5D-B495-BA84C2DAABD3}" dt="2020-09-30T11:17:53.338" v="203" actId="478"/>
          <ac:spMkLst>
            <pc:docMk/>
            <pc:sldMk cId="1843051144" sldId="2076137608"/>
            <ac:spMk id="194" creationId="{D27F83E4-12D9-41FC-A2DA-61594194846D}"/>
          </ac:spMkLst>
        </pc:spChg>
        <pc:spChg chg="mod">
          <ac:chgData name="Manuela Pichler" userId="07a841c1-49c8-4352-a8c3-3a0d96cf9a08" providerId="ADAL" clId="{F7D784F4-EDA8-4F5D-B495-BA84C2DAABD3}" dt="2020-09-30T11:17:53.338" v="203" actId="478"/>
          <ac:spMkLst>
            <pc:docMk/>
            <pc:sldMk cId="1843051144" sldId="2076137608"/>
            <ac:spMk id="195" creationId="{6E334574-0D07-4820-B833-1BB940BF64B9}"/>
          </ac:spMkLst>
        </pc:spChg>
        <pc:spChg chg="mod">
          <ac:chgData name="Manuela Pichler" userId="07a841c1-49c8-4352-a8c3-3a0d96cf9a08" providerId="ADAL" clId="{F7D784F4-EDA8-4F5D-B495-BA84C2DAABD3}" dt="2020-09-30T11:17:53.338" v="203" actId="478"/>
          <ac:spMkLst>
            <pc:docMk/>
            <pc:sldMk cId="1843051144" sldId="2076137608"/>
            <ac:spMk id="197" creationId="{5974ED80-1B2A-4DA8-B456-F94C2F279CBC}"/>
          </ac:spMkLst>
        </pc:spChg>
        <pc:spChg chg="mod">
          <ac:chgData name="Manuela Pichler" userId="07a841c1-49c8-4352-a8c3-3a0d96cf9a08" providerId="ADAL" clId="{F7D784F4-EDA8-4F5D-B495-BA84C2DAABD3}" dt="2020-09-30T11:17:53.338" v="203" actId="478"/>
          <ac:spMkLst>
            <pc:docMk/>
            <pc:sldMk cId="1843051144" sldId="2076137608"/>
            <ac:spMk id="198" creationId="{6259C62A-BA32-4827-96FE-4CC119A84C48}"/>
          </ac:spMkLst>
        </pc:spChg>
        <pc:spChg chg="mod">
          <ac:chgData name="Manuela Pichler" userId="07a841c1-49c8-4352-a8c3-3a0d96cf9a08" providerId="ADAL" clId="{F7D784F4-EDA8-4F5D-B495-BA84C2DAABD3}" dt="2020-09-30T11:17:53.338" v="203" actId="478"/>
          <ac:spMkLst>
            <pc:docMk/>
            <pc:sldMk cId="1843051144" sldId="2076137608"/>
            <ac:spMk id="199" creationId="{C043FC23-A2C0-4FAF-994E-AB56DD964EA7}"/>
          </ac:spMkLst>
        </pc:spChg>
        <pc:spChg chg="mod">
          <ac:chgData name="Manuela Pichler" userId="07a841c1-49c8-4352-a8c3-3a0d96cf9a08" providerId="ADAL" clId="{F7D784F4-EDA8-4F5D-B495-BA84C2DAABD3}" dt="2020-09-30T11:17:53.338" v="203" actId="478"/>
          <ac:spMkLst>
            <pc:docMk/>
            <pc:sldMk cId="1843051144" sldId="2076137608"/>
            <ac:spMk id="200" creationId="{602CBE3C-CE47-40EE-B76C-390F2FFCA2D6}"/>
          </ac:spMkLst>
        </pc:spChg>
        <pc:spChg chg="mod">
          <ac:chgData name="Manuela Pichler" userId="07a841c1-49c8-4352-a8c3-3a0d96cf9a08" providerId="ADAL" clId="{F7D784F4-EDA8-4F5D-B495-BA84C2DAABD3}" dt="2020-09-30T11:17:53.338" v="203" actId="478"/>
          <ac:spMkLst>
            <pc:docMk/>
            <pc:sldMk cId="1843051144" sldId="2076137608"/>
            <ac:spMk id="201" creationId="{32473F73-8905-446D-8B4F-9EF417985D57}"/>
          </ac:spMkLst>
        </pc:spChg>
        <pc:spChg chg="mod">
          <ac:chgData name="Manuela Pichler" userId="07a841c1-49c8-4352-a8c3-3a0d96cf9a08" providerId="ADAL" clId="{F7D784F4-EDA8-4F5D-B495-BA84C2DAABD3}" dt="2020-09-30T11:17:53.338" v="203" actId="478"/>
          <ac:spMkLst>
            <pc:docMk/>
            <pc:sldMk cId="1843051144" sldId="2076137608"/>
            <ac:spMk id="202" creationId="{D1D76B86-DFA4-4C90-A255-66316F2F535B}"/>
          </ac:spMkLst>
        </pc:spChg>
        <pc:spChg chg="mod">
          <ac:chgData name="Manuela Pichler" userId="07a841c1-49c8-4352-a8c3-3a0d96cf9a08" providerId="ADAL" clId="{F7D784F4-EDA8-4F5D-B495-BA84C2DAABD3}" dt="2020-09-30T11:17:53.338" v="203" actId="478"/>
          <ac:spMkLst>
            <pc:docMk/>
            <pc:sldMk cId="1843051144" sldId="2076137608"/>
            <ac:spMk id="203" creationId="{23A5DFB1-0007-4951-938A-A05360562D3B}"/>
          </ac:spMkLst>
        </pc:spChg>
        <pc:spChg chg="mod">
          <ac:chgData name="Manuela Pichler" userId="07a841c1-49c8-4352-a8c3-3a0d96cf9a08" providerId="ADAL" clId="{F7D784F4-EDA8-4F5D-B495-BA84C2DAABD3}" dt="2020-09-30T11:17:53.338" v="203" actId="478"/>
          <ac:spMkLst>
            <pc:docMk/>
            <pc:sldMk cId="1843051144" sldId="2076137608"/>
            <ac:spMk id="207" creationId="{5BAEF29F-DE27-4AF9-955E-67215DEE1F3D}"/>
          </ac:spMkLst>
        </pc:spChg>
        <pc:spChg chg="mod">
          <ac:chgData name="Manuela Pichler" userId="07a841c1-49c8-4352-a8c3-3a0d96cf9a08" providerId="ADAL" clId="{F7D784F4-EDA8-4F5D-B495-BA84C2DAABD3}" dt="2020-09-30T11:17:53.338" v="203" actId="478"/>
          <ac:spMkLst>
            <pc:docMk/>
            <pc:sldMk cId="1843051144" sldId="2076137608"/>
            <ac:spMk id="208" creationId="{8C211A2B-B7B1-43D7-AA2A-78D1D70B6983}"/>
          </ac:spMkLst>
        </pc:spChg>
        <pc:spChg chg="mod">
          <ac:chgData name="Manuela Pichler" userId="07a841c1-49c8-4352-a8c3-3a0d96cf9a08" providerId="ADAL" clId="{F7D784F4-EDA8-4F5D-B495-BA84C2DAABD3}" dt="2020-09-30T11:17:53.338" v="203" actId="478"/>
          <ac:spMkLst>
            <pc:docMk/>
            <pc:sldMk cId="1843051144" sldId="2076137608"/>
            <ac:spMk id="209" creationId="{D49F6943-61F2-4F28-9144-4200B8FB50FC}"/>
          </ac:spMkLst>
        </pc:spChg>
        <pc:spChg chg="mod">
          <ac:chgData name="Manuela Pichler" userId="07a841c1-49c8-4352-a8c3-3a0d96cf9a08" providerId="ADAL" clId="{F7D784F4-EDA8-4F5D-B495-BA84C2DAABD3}" dt="2020-09-30T11:17:53.338" v="203" actId="478"/>
          <ac:spMkLst>
            <pc:docMk/>
            <pc:sldMk cId="1843051144" sldId="2076137608"/>
            <ac:spMk id="211" creationId="{DD752EAE-FB71-4649-A314-753475EDF49A}"/>
          </ac:spMkLst>
        </pc:spChg>
        <pc:spChg chg="del mod">
          <ac:chgData name="Manuela Pichler" userId="07a841c1-49c8-4352-a8c3-3a0d96cf9a08" providerId="ADAL" clId="{F7D784F4-EDA8-4F5D-B495-BA84C2DAABD3}" dt="2020-09-30T11:17:38.079" v="191" actId="478"/>
          <ac:spMkLst>
            <pc:docMk/>
            <pc:sldMk cId="1843051144" sldId="2076137608"/>
            <ac:spMk id="212" creationId="{D13BC463-5B37-4AB1-95C0-934A17807C4D}"/>
          </ac:spMkLst>
        </pc:spChg>
        <pc:spChg chg="mod">
          <ac:chgData name="Manuela Pichler" userId="07a841c1-49c8-4352-a8c3-3a0d96cf9a08" providerId="ADAL" clId="{F7D784F4-EDA8-4F5D-B495-BA84C2DAABD3}" dt="2020-09-30T11:17:53.338" v="203" actId="478"/>
          <ac:spMkLst>
            <pc:docMk/>
            <pc:sldMk cId="1843051144" sldId="2076137608"/>
            <ac:spMk id="214" creationId="{3C08ACF9-2F3A-40F9-828C-54A493E5B4C5}"/>
          </ac:spMkLst>
        </pc:spChg>
        <pc:spChg chg="mod">
          <ac:chgData name="Manuela Pichler" userId="07a841c1-49c8-4352-a8c3-3a0d96cf9a08" providerId="ADAL" clId="{F7D784F4-EDA8-4F5D-B495-BA84C2DAABD3}" dt="2020-09-30T11:17:53.338" v="203" actId="478"/>
          <ac:spMkLst>
            <pc:docMk/>
            <pc:sldMk cId="1843051144" sldId="2076137608"/>
            <ac:spMk id="220" creationId="{4398177F-ECA1-4485-ACF0-0517EA7A5487}"/>
          </ac:spMkLst>
        </pc:spChg>
        <pc:spChg chg="del mod">
          <ac:chgData name="Manuela Pichler" userId="07a841c1-49c8-4352-a8c3-3a0d96cf9a08" providerId="ADAL" clId="{F7D784F4-EDA8-4F5D-B495-BA84C2DAABD3}" dt="2020-09-30T11:17:50.644" v="201" actId="478"/>
          <ac:spMkLst>
            <pc:docMk/>
            <pc:sldMk cId="1843051144" sldId="2076137608"/>
            <ac:spMk id="221" creationId="{68E380D9-906A-456E-9ACF-1915D18C320C}"/>
          </ac:spMkLst>
        </pc:spChg>
        <pc:spChg chg="del mod">
          <ac:chgData name="Manuela Pichler" userId="07a841c1-49c8-4352-a8c3-3a0d96cf9a08" providerId="ADAL" clId="{F7D784F4-EDA8-4F5D-B495-BA84C2DAABD3}" dt="2020-09-30T11:17:52.385" v="202" actId="478"/>
          <ac:spMkLst>
            <pc:docMk/>
            <pc:sldMk cId="1843051144" sldId="2076137608"/>
            <ac:spMk id="223" creationId="{56E3FC74-8035-4E17-ADB3-C84D80A6F172}"/>
          </ac:spMkLst>
        </pc:spChg>
        <pc:spChg chg="mod">
          <ac:chgData name="Manuela Pichler" userId="07a841c1-49c8-4352-a8c3-3a0d96cf9a08" providerId="ADAL" clId="{F7D784F4-EDA8-4F5D-B495-BA84C2DAABD3}" dt="2020-09-30T11:17:53.338" v="203" actId="478"/>
          <ac:spMkLst>
            <pc:docMk/>
            <pc:sldMk cId="1843051144" sldId="2076137608"/>
            <ac:spMk id="224" creationId="{CF8C1D34-CF8D-42E3-AB92-1ABE4AE45E92}"/>
          </ac:spMkLst>
        </pc:spChg>
        <pc:spChg chg="mod">
          <ac:chgData name="Manuela Pichler" userId="07a841c1-49c8-4352-a8c3-3a0d96cf9a08" providerId="ADAL" clId="{F7D784F4-EDA8-4F5D-B495-BA84C2DAABD3}" dt="2020-09-30T11:17:53.338" v="203" actId="478"/>
          <ac:spMkLst>
            <pc:docMk/>
            <pc:sldMk cId="1843051144" sldId="2076137608"/>
            <ac:spMk id="225" creationId="{CC4ABF4E-533E-470F-86CE-94C0F82CCDCA}"/>
          </ac:spMkLst>
        </pc:spChg>
        <pc:spChg chg="mod">
          <ac:chgData name="Manuela Pichler" userId="07a841c1-49c8-4352-a8c3-3a0d96cf9a08" providerId="ADAL" clId="{F7D784F4-EDA8-4F5D-B495-BA84C2DAABD3}" dt="2020-09-30T11:17:53.338" v="203" actId="478"/>
          <ac:spMkLst>
            <pc:docMk/>
            <pc:sldMk cId="1843051144" sldId="2076137608"/>
            <ac:spMk id="226" creationId="{0929116A-429E-4646-8610-9744719F22B4}"/>
          </ac:spMkLst>
        </pc:spChg>
        <pc:spChg chg="del mod">
          <ac:chgData name="Manuela Pichler" userId="07a841c1-49c8-4352-a8c3-3a0d96cf9a08" providerId="ADAL" clId="{F7D784F4-EDA8-4F5D-B495-BA84C2DAABD3}" dt="2020-09-30T11:17:39.090" v="192" actId="478"/>
          <ac:spMkLst>
            <pc:docMk/>
            <pc:sldMk cId="1843051144" sldId="2076137608"/>
            <ac:spMk id="227" creationId="{E42B9258-E5CC-40C0-B5E8-B28CFA36B554}"/>
          </ac:spMkLst>
        </pc:spChg>
        <pc:spChg chg="del mod">
          <ac:chgData name="Manuela Pichler" userId="07a841c1-49c8-4352-a8c3-3a0d96cf9a08" providerId="ADAL" clId="{F7D784F4-EDA8-4F5D-B495-BA84C2DAABD3}" dt="2020-09-30T11:17:44.918" v="196" actId="478"/>
          <ac:spMkLst>
            <pc:docMk/>
            <pc:sldMk cId="1843051144" sldId="2076137608"/>
            <ac:spMk id="229" creationId="{51EEFCC5-269A-449C-BD12-AA29117BC647}"/>
          </ac:spMkLst>
        </pc:spChg>
        <pc:grpChg chg="add mod">
          <ac:chgData name="Manuela Pichler" userId="07a841c1-49c8-4352-a8c3-3a0d96cf9a08" providerId="ADAL" clId="{F7D784F4-EDA8-4F5D-B495-BA84C2DAABD3}" dt="2020-09-30T11:15:13.350" v="180" actId="1076"/>
          <ac:grpSpMkLst>
            <pc:docMk/>
            <pc:sldMk cId="1843051144" sldId="2076137608"/>
            <ac:grpSpMk id="14" creationId="{F2652743-3B5E-4A88-B289-C1E011DB25EF}"/>
          </ac:grpSpMkLst>
        </pc:grpChg>
        <pc:grpChg chg="mod">
          <ac:chgData name="Manuela Pichler" userId="07a841c1-49c8-4352-a8c3-3a0d96cf9a08" providerId="ADAL" clId="{F7D784F4-EDA8-4F5D-B495-BA84C2DAABD3}" dt="2020-09-30T11:17:53.338" v="203" actId="478"/>
          <ac:grpSpMkLst>
            <pc:docMk/>
            <pc:sldMk cId="1843051144" sldId="2076137608"/>
            <ac:grpSpMk id="28" creationId="{576306D0-A6B6-4B8C-8007-5386D5C869EF}"/>
          </ac:grpSpMkLst>
        </pc:grpChg>
        <pc:grpChg chg="del mod">
          <ac:chgData name="Manuela Pichler" userId="07a841c1-49c8-4352-a8c3-3a0d96cf9a08" providerId="ADAL" clId="{F7D784F4-EDA8-4F5D-B495-BA84C2DAABD3}" dt="2020-09-30T11:17:44.918" v="196" actId="478"/>
          <ac:grpSpMkLst>
            <pc:docMk/>
            <pc:sldMk cId="1843051144" sldId="2076137608"/>
            <ac:grpSpMk id="39" creationId="{1E270C4A-6C44-4BA6-B365-90A6AD6BB427}"/>
          </ac:grpSpMkLst>
        </pc:grpChg>
        <pc:grpChg chg="del mod">
          <ac:chgData name="Manuela Pichler" userId="07a841c1-49c8-4352-a8c3-3a0d96cf9a08" providerId="ADAL" clId="{F7D784F4-EDA8-4F5D-B495-BA84C2DAABD3}" dt="2020-09-30T11:17:52.385" v="202" actId="478"/>
          <ac:grpSpMkLst>
            <pc:docMk/>
            <pc:sldMk cId="1843051144" sldId="2076137608"/>
            <ac:grpSpMk id="44" creationId="{409CB023-596E-4791-AC1B-447812F2CF6B}"/>
          </ac:grpSpMkLst>
        </pc:grpChg>
        <pc:grpChg chg="add del mod">
          <ac:chgData name="Manuela Pichler" userId="07a841c1-49c8-4352-a8c3-3a0d96cf9a08" providerId="ADAL" clId="{F7D784F4-EDA8-4F5D-B495-BA84C2DAABD3}" dt="2020-09-30T11:17:53.338" v="203" actId="478"/>
          <ac:grpSpMkLst>
            <pc:docMk/>
            <pc:sldMk cId="1843051144" sldId="2076137608"/>
            <ac:grpSpMk id="60" creationId="{AF9EEF76-5B19-4FCA-BF22-826CED4F4EE5}"/>
          </ac:grpSpMkLst>
        </pc:grpChg>
        <pc:grpChg chg="add mod">
          <ac:chgData name="Manuela Pichler" userId="07a841c1-49c8-4352-a8c3-3a0d96cf9a08" providerId="ADAL" clId="{F7D784F4-EDA8-4F5D-B495-BA84C2DAABD3}" dt="2020-09-30T11:15:01.092" v="178" actId="170"/>
          <ac:grpSpMkLst>
            <pc:docMk/>
            <pc:sldMk cId="1843051144" sldId="2076137608"/>
            <ac:grpSpMk id="90" creationId="{95A0F5BC-7F8D-4C88-85C1-867D3D608C29}"/>
          </ac:grpSpMkLst>
        </pc:grpChg>
        <pc:grpChg chg="del mod">
          <ac:chgData name="Manuela Pichler" userId="07a841c1-49c8-4352-a8c3-3a0d96cf9a08" providerId="ADAL" clId="{F7D784F4-EDA8-4F5D-B495-BA84C2DAABD3}" dt="2020-09-30T11:17:53.338" v="203" actId="478"/>
          <ac:grpSpMkLst>
            <pc:docMk/>
            <pc:sldMk cId="1843051144" sldId="2076137608"/>
            <ac:grpSpMk id="103" creationId="{A28DF9D1-E7F8-4D17-9C3A-A0E1345AF1BA}"/>
          </ac:grpSpMkLst>
        </pc:grpChg>
        <pc:grpChg chg="del mod">
          <ac:chgData name="Manuela Pichler" userId="07a841c1-49c8-4352-a8c3-3a0d96cf9a08" providerId="ADAL" clId="{F7D784F4-EDA8-4F5D-B495-BA84C2DAABD3}" dt="2020-09-30T11:18:16.004" v="212" actId="478"/>
          <ac:grpSpMkLst>
            <pc:docMk/>
            <pc:sldMk cId="1843051144" sldId="2076137608"/>
            <ac:grpSpMk id="104" creationId="{F73D417B-4BA7-4A2E-A9E6-E13A560D98E4}"/>
          </ac:grpSpMkLst>
        </pc:grpChg>
        <pc:grpChg chg="del mod">
          <ac:chgData name="Manuela Pichler" userId="07a841c1-49c8-4352-a8c3-3a0d96cf9a08" providerId="ADAL" clId="{F7D784F4-EDA8-4F5D-B495-BA84C2DAABD3}" dt="2020-09-30T11:18:16.004" v="212" actId="478"/>
          <ac:grpSpMkLst>
            <pc:docMk/>
            <pc:sldMk cId="1843051144" sldId="2076137608"/>
            <ac:grpSpMk id="105" creationId="{FD830C91-EEB2-4D75-9B71-FDCD56F3F547}"/>
          </ac:grpSpMkLst>
        </pc:grpChg>
        <pc:grpChg chg="del mod">
          <ac:chgData name="Manuela Pichler" userId="07a841c1-49c8-4352-a8c3-3a0d96cf9a08" providerId="ADAL" clId="{F7D784F4-EDA8-4F5D-B495-BA84C2DAABD3}" dt="2020-09-30T11:18:02.513" v="209" actId="478"/>
          <ac:grpSpMkLst>
            <pc:docMk/>
            <pc:sldMk cId="1843051144" sldId="2076137608"/>
            <ac:grpSpMk id="106" creationId="{1E0358C6-6E35-4E31-8990-C441F3E48C5D}"/>
          </ac:grpSpMkLst>
        </pc:grpChg>
        <pc:grpChg chg="del mod">
          <ac:chgData name="Manuela Pichler" userId="07a841c1-49c8-4352-a8c3-3a0d96cf9a08" providerId="ADAL" clId="{F7D784F4-EDA8-4F5D-B495-BA84C2DAABD3}" dt="2020-09-30T11:17:53.338" v="203" actId="478"/>
          <ac:grpSpMkLst>
            <pc:docMk/>
            <pc:sldMk cId="1843051144" sldId="2076137608"/>
            <ac:grpSpMk id="108" creationId="{C910E16B-07B6-40C8-B7EF-5C92BD4A0557}"/>
          </ac:grpSpMkLst>
        </pc:grpChg>
        <pc:grpChg chg="del mod">
          <ac:chgData name="Manuela Pichler" userId="07a841c1-49c8-4352-a8c3-3a0d96cf9a08" providerId="ADAL" clId="{F7D784F4-EDA8-4F5D-B495-BA84C2DAABD3}" dt="2020-09-30T11:17:57.936" v="206" actId="478"/>
          <ac:grpSpMkLst>
            <pc:docMk/>
            <pc:sldMk cId="1843051144" sldId="2076137608"/>
            <ac:grpSpMk id="111" creationId="{86070454-94F3-4E2F-BB4F-453570D0D5CA}"/>
          </ac:grpSpMkLst>
        </pc:grpChg>
        <pc:picChg chg="add mod">
          <ac:chgData name="Manuela Pichler" userId="07a841c1-49c8-4352-a8c3-3a0d96cf9a08" providerId="ADAL" clId="{F7D784F4-EDA8-4F5D-B495-BA84C2DAABD3}" dt="2020-09-30T11:15:13.350" v="180" actId="1076"/>
          <ac:picMkLst>
            <pc:docMk/>
            <pc:sldMk cId="1843051144" sldId="2076137608"/>
            <ac:picMk id="7" creationId="{D2D98F58-50C6-4D13-B1A2-D122F050E8F8}"/>
          </ac:picMkLst>
        </pc:picChg>
        <pc:picChg chg="add mod">
          <ac:chgData name="Manuela Pichler" userId="07a841c1-49c8-4352-a8c3-3a0d96cf9a08" providerId="ADAL" clId="{F7D784F4-EDA8-4F5D-B495-BA84C2DAABD3}" dt="2020-09-30T11:15:13.350" v="180" actId="1076"/>
          <ac:picMkLst>
            <pc:docMk/>
            <pc:sldMk cId="1843051144" sldId="2076137608"/>
            <ac:picMk id="8" creationId="{CBA56B48-E87F-44C0-9B17-C5C9955D8E08}"/>
          </ac:picMkLst>
        </pc:picChg>
        <pc:picChg chg="add mod">
          <ac:chgData name="Manuela Pichler" userId="07a841c1-49c8-4352-a8c3-3a0d96cf9a08" providerId="ADAL" clId="{F7D784F4-EDA8-4F5D-B495-BA84C2DAABD3}" dt="2020-09-30T11:15:13.350" v="180" actId="1076"/>
          <ac:picMkLst>
            <pc:docMk/>
            <pc:sldMk cId="1843051144" sldId="2076137608"/>
            <ac:picMk id="9" creationId="{7D403357-DDDC-46CE-A6C8-13B0D2B3091F}"/>
          </ac:picMkLst>
        </pc:picChg>
        <pc:picChg chg="mod">
          <ac:chgData name="Manuela Pichler" userId="07a841c1-49c8-4352-a8c3-3a0d96cf9a08" providerId="ADAL" clId="{F7D784F4-EDA8-4F5D-B495-BA84C2DAABD3}" dt="2020-09-30T11:14:37.765" v="126" actId="1076"/>
          <ac:picMkLst>
            <pc:docMk/>
            <pc:sldMk cId="1843051144" sldId="2076137608"/>
            <ac:picMk id="92" creationId="{3D6C7FA7-1EDC-44D4-8389-8982AAC66F14}"/>
          </ac:picMkLst>
        </pc:picChg>
        <pc:picChg chg="mod">
          <ac:chgData name="Manuela Pichler" userId="07a841c1-49c8-4352-a8c3-3a0d96cf9a08" providerId="ADAL" clId="{F7D784F4-EDA8-4F5D-B495-BA84C2DAABD3}" dt="2020-09-30T11:14:37.765" v="126" actId="1076"/>
          <ac:picMkLst>
            <pc:docMk/>
            <pc:sldMk cId="1843051144" sldId="2076137608"/>
            <ac:picMk id="93" creationId="{A224A693-2BEB-4C44-96FA-E1FD8BA8E283}"/>
          </ac:picMkLst>
        </pc:picChg>
        <pc:picChg chg="mod">
          <ac:chgData name="Manuela Pichler" userId="07a841c1-49c8-4352-a8c3-3a0d96cf9a08" providerId="ADAL" clId="{F7D784F4-EDA8-4F5D-B495-BA84C2DAABD3}" dt="2020-09-30T11:14:37.765" v="126" actId="1076"/>
          <ac:picMkLst>
            <pc:docMk/>
            <pc:sldMk cId="1843051144" sldId="2076137608"/>
            <ac:picMk id="94" creationId="{0D5F35D0-23A1-4A79-BF59-F62BB39A5D17}"/>
          </ac:picMkLst>
        </pc:picChg>
        <pc:picChg chg="mod">
          <ac:chgData name="Manuela Pichler" userId="07a841c1-49c8-4352-a8c3-3a0d96cf9a08" providerId="ADAL" clId="{F7D784F4-EDA8-4F5D-B495-BA84C2DAABD3}" dt="2020-09-30T11:17:53.338" v="203" actId="478"/>
          <ac:picMkLst>
            <pc:docMk/>
            <pc:sldMk cId="1843051144" sldId="2076137608"/>
            <ac:picMk id="204" creationId="{06FB21DD-5CD1-4A93-8A24-5EC789A0C386}"/>
          </ac:picMkLst>
        </pc:picChg>
        <pc:picChg chg="mod">
          <ac:chgData name="Manuela Pichler" userId="07a841c1-49c8-4352-a8c3-3a0d96cf9a08" providerId="ADAL" clId="{F7D784F4-EDA8-4F5D-B495-BA84C2DAABD3}" dt="2020-09-30T11:17:53.338" v="203" actId="478"/>
          <ac:picMkLst>
            <pc:docMk/>
            <pc:sldMk cId="1843051144" sldId="2076137608"/>
            <ac:picMk id="205" creationId="{B414EC86-BBD7-4729-95C1-8F1696571680}"/>
          </ac:picMkLst>
        </pc:picChg>
        <pc:picChg chg="mod">
          <ac:chgData name="Manuela Pichler" userId="07a841c1-49c8-4352-a8c3-3a0d96cf9a08" providerId="ADAL" clId="{F7D784F4-EDA8-4F5D-B495-BA84C2DAABD3}" dt="2020-09-30T11:17:53.338" v="203" actId="478"/>
          <ac:picMkLst>
            <pc:docMk/>
            <pc:sldMk cId="1843051144" sldId="2076137608"/>
            <ac:picMk id="206" creationId="{505DF240-C881-4B61-B545-46C73FF82CFD}"/>
          </ac:picMkLst>
        </pc:picChg>
        <pc:picChg chg="del mod">
          <ac:chgData name="Manuela Pichler" userId="07a841c1-49c8-4352-a8c3-3a0d96cf9a08" providerId="ADAL" clId="{F7D784F4-EDA8-4F5D-B495-BA84C2DAABD3}" dt="2020-09-30T11:17:36.480" v="190" actId="478"/>
          <ac:picMkLst>
            <pc:docMk/>
            <pc:sldMk cId="1843051144" sldId="2076137608"/>
            <ac:picMk id="210" creationId="{777438C2-1DC0-4A66-AA3D-D2A2972A799E}"/>
          </ac:picMkLst>
        </pc:picChg>
        <pc:picChg chg="del mod">
          <ac:chgData name="Manuela Pichler" userId="07a841c1-49c8-4352-a8c3-3a0d96cf9a08" providerId="ADAL" clId="{F7D784F4-EDA8-4F5D-B495-BA84C2DAABD3}" dt="2020-09-30T11:17:53.338" v="203" actId="478"/>
          <ac:picMkLst>
            <pc:docMk/>
            <pc:sldMk cId="1843051144" sldId="2076137608"/>
            <ac:picMk id="222" creationId="{4B557E3A-04D9-4390-9AD7-D92309151609}"/>
          </ac:picMkLst>
        </pc:picChg>
        <pc:picChg chg="del mod">
          <ac:chgData name="Manuela Pichler" userId="07a841c1-49c8-4352-a8c3-3a0d96cf9a08" providerId="ADAL" clId="{F7D784F4-EDA8-4F5D-B495-BA84C2DAABD3}" dt="2020-09-30T11:17:45.823" v="197" actId="478"/>
          <ac:picMkLst>
            <pc:docMk/>
            <pc:sldMk cId="1843051144" sldId="2076137608"/>
            <ac:picMk id="228" creationId="{5A881BFF-2530-4FAF-841D-8E228D2209C8}"/>
          </ac:picMkLst>
        </pc:picChg>
        <pc:cxnChg chg="add mod">
          <ac:chgData name="Manuela Pichler" userId="07a841c1-49c8-4352-a8c3-3a0d96cf9a08" providerId="ADAL" clId="{F7D784F4-EDA8-4F5D-B495-BA84C2DAABD3}" dt="2020-09-30T11:18:32.079" v="217" actId="14100"/>
          <ac:cxnSpMkLst>
            <pc:docMk/>
            <pc:sldMk cId="1843051144" sldId="2076137608"/>
            <ac:cxnSpMk id="7" creationId="{5DDFA233-CBE3-446C-993E-B8114F93FDBA}"/>
          </ac:cxnSpMkLst>
        </pc:cxnChg>
        <pc:cxnChg chg="del mod">
          <ac:chgData name="Manuela Pichler" userId="07a841c1-49c8-4352-a8c3-3a0d96cf9a08" providerId="ADAL" clId="{F7D784F4-EDA8-4F5D-B495-BA84C2DAABD3}" dt="2020-09-30T11:17:53.338" v="203" actId="478"/>
          <ac:cxnSpMkLst>
            <pc:docMk/>
            <pc:sldMk cId="1843051144" sldId="2076137608"/>
            <ac:cxnSpMk id="112" creationId="{69A9723A-42E3-40B6-B085-448797AD2522}"/>
          </ac:cxnSpMkLst>
        </pc:cxnChg>
        <pc:cxnChg chg="del mod">
          <ac:chgData name="Manuela Pichler" userId="07a841c1-49c8-4352-a8c3-3a0d96cf9a08" providerId="ADAL" clId="{F7D784F4-EDA8-4F5D-B495-BA84C2DAABD3}" dt="2020-09-30T11:18:16.004" v="212" actId="478"/>
          <ac:cxnSpMkLst>
            <pc:docMk/>
            <pc:sldMk cId="1843051144" sldId="2076137608"/>
            <ac:cxnSpMk id="113" creationId="{2FEAFE47-458A-48DA-AFB5-0A161E6AF74C}"/>
          </ac:cxnSpMkLst>
        </pc:cxnChg>
        <pc:cxnChg chg="del mod">
          <ac:chgData name="Manuela Pichler" userId="07a841c1-49c8-4352-a8c3-3a0d96cf9a08" providerId="ADAL" clId="{F7D784F4-EDA8-4F5D-B495-BA84C2DAABD3}" dt="2020-09-30T11:18:16.004" v="212" actId="478"/>
          <ac:cxnSpMkLst>
            <pc:docMk/>
            <pc:sldMk cId="1843051144" sldId="2076137608"/>
            <ac:cxnSpMk id="114" creationId="{7FC07240-1B27-4684-9E2C-EEA4FDA1A227}"/>
          </ac:cxnSpMkLst>
        </pc:cxnChg>
        <pc:cxnChg chg="del mod">
          <ac:chgData name="Manuela Pichler" userId="07a841c1-49c8-4352-a8c3-3a0d96cf9a08" providerId="ADAL" clId="{F7D784F4-EDA8-4F5D-B495-BA84C2DAABD3}" dt="2020-09-30T11:18:16.004" v="212" actId="478"/>
          <ac:cxnSpMkLst>
            <pc:docMk/>
            <pc:sldMk cId="1843051144" sldId="2076137608"/>
            <ac:cxnSpMk id="115" creationId="{C793DC72-6F4F-41FD-9841-8AE1E4CE85F8}"/>
          </ac:cxnSpMkLst>
        </pc:cxnChg>
        <pc:cxnChg chg="del mod">
          <ac:chgData name="Manuela Pichler" userId="07a841c1-49c8-4352-a8c3-3a0d96cf9a08" providerId="ADAL" clId="{F7D784F4-EDA8-4F5D-B495-BA84C2DAABD3}" dt="2020-09-30T11:18:16.004" v="212" actId="478"/>
          <ac:cxnSpMkLst>
            <pc:docMk/>
            <pc:sldMk cId="1843051144" sldId="2076137608"/>
            <ac:cxnSpMk id="118" creationId="{F20AA8AD-7DE1-4622-B1B2-F83D08E60E71}"/>
          </ac:cxnSpMkLst>
        </pc:cxnChg>
        <pc:cxnChg chg="del mod">
          <ac:chgData name="Manuela Pichler" userId="07a841c1-49c8-4352-a8c3-3a0d96cf9a08" providerId="ADAL" clId="{F7D784F4-EDA8-4F5D-B495-BA84C2DAABD3}" dt="2020-09-30T11:17:56.374" v="205" actId="478"/>
          <ac:cxnSpMkLst>
            <pc:docMk/>
            <pc:sldMk cId="1843051144" sldId="2076137608"/>
            <ac:cxnSpMk id="119" creationId="{64469DA6-167B-4DFA-97C0-0B5545B4FCAB}"/>
          </ac:cxnSpMkLst>
        </pc:cxnChg>
        <pc:cxnChg chg="del mod">
          <ac:chgData name="Manuela Pichler" userId="07a841c1-49c8-4352-a8c3-3a0d96cf9a08" providerId="ADAL" clId="{F7D784F4-EDA8-4F5D-B495-BA84C2DAABD3}" dt="2020-09-30T11:17:43.495" v="195" actId="478"/>
          <ac:cxnSpMkLst>
            <pc:docMk/>
            <pc:sldMk cId="1843051144" sldId="2076137608"/>
            <ac:cxnSpMk id="215" creationId="{3EB46490-F818-433C-A256-963E3BFBCEDB}"/>
          </ac:cxnSpMkLst>
        </pc:cxnChg>
        <pc:cxnChg chg="mod">
          <ac:chgData name="Manuela Pichler" userId="07a841c1-49c8-4352-a8c3-3a0d96cf9a08" providerId="ADAL" clId="{F7D784F4-EDA8-4F5D-B495-BA84C2DAABD3}" dt="2020-09-30T11:17:53.338" v="203" actId="478"/>
          <ac:cxnSpMkLst>
            <pc:docMk/>
            <pc:sldMk cId="1843051144" sldId="2076137608"/>
            <ac:cxnSpMk id="218" creationId="{87B55657-122A-4C20-B889-B6419B5F08F2}"/>
          </ac:cxnSpMkLst>
        </pc:cxnChg>
        <pc:cxnChg chg="del mod">
          <ac:chgData name="Manuela Pichler" userId="07a841c1-49c8-4352-a8c3-3a0d96cf9a08" providerId="ADAL" clId="{F7D784F4-EDA8-4F5D-B495-BA84C2DAABD3}" dt="2020-09-30T11:17:54.586" v="204" actId="478"/>
          <ac:cxnSpMkLst>
            <pc:docMk/>
            <pc:sldMk cId="1843051144" sldId="2076137608"/>
            <ac:cxnSpMk id="219" creationId="{A535974C-9297-4C10-8448-5980155A2A16}"/>
          </ac:cxnSpMkLst>
        </pc:cxnChg>
      </pc:sldChg>
      <pc:sldChg chg="add del">
        <pc:chgData name="Manuela Pichler" userId="07a841c1-49c8-4352-a8c3-3a0d96cf9a08" providerId="ADAL" clId="{F7D784F4-EDA8-4F5D-B495-BA84C2DAABD3}" dt="2020-09-30T11:23:36.630" v="289" actId="47"/>
        <pc:sldMkLst>
          <pc:docMk/>
          <pc:sldMk cId="2712140264" sldId="2076137609"/>
        </pc:sldMkLst>
      </pc:sldChg>
      <pc:sldChg chg="add modNotesTx">
        <pc:chgData name="Manuela Pichler" userId="07a841c1-49c8-4352-a8c3-3a0d96cf9a08" providerId="ADAL" clId="{F7D784F4-EDA8-4F5D-B495-BA84C2DAABD3}" dt="2020-09-30T12:58:19.195" v="556" actId="20577"/>
        <pc:sldMkLst>
          <pc:docMk/>
          <pc:sldMk cId="61908127" sldId="2076137611"/>
        </pc:sldMkLst>
      </pc:sldChg>
      <pc:sldChg chg="add">
        <pc:chgData name="Manuela Pichler" userId="07a841c1-49c8-4352-a8c3-3a0d96cf9a08" providerId="ADAL" clId="{F7D784F4-EDA8-4F5D-B495-BA84C2DAABD3}" dt="2020-09-30T11:24:48.501" v="318"/>
        <pc:sldMkLst>
          <pc:docMk/>
          <pc:sldMk cId="16295621" sldId="2076137613"/>
        </pc:sldMkLst>
      </pc:sldChg>
      <pc:sldChg chg="add">
        <pc:chgData name="Manuela Pichler" userId="07a841c1-49c8-4352-a8c3-3a0d96cf9a08" providerId="ADAL" clId="{F7D784F4-EDA8-4F5D-B495-BA84C2DAABD3}" dt="2020-09-30T11:25:22.471" v="332"/>
        <pc:sldMkLst>
          <pc:docMk/>
          <pc:sldMk cId="3515977864" sldId="2076137617"/>
        </pc:sldMkLst>
      </pc:sldChg>
      <pc:sldChg chg="delSp modSp add mod">
        <pc:chgData name="Manuela Pichler" userId="07a841c1-49c8-4352-a8c3-3a0d96cf9a08" providerId="ADAL" clId="{F7D784F4-EDA8-4F5D-B495-BA84C2DAABD3}" dt="2020-09-30T12:51:37.107" v="425" actId="14100"/>
        <pc:sldMkLst>
          <pc:docMk/>
          <pc:sldMk cId="775731749" sldId="2076137618"/>
        </pc:sldMkLst>
        <pc:picChg chg="mod">
          <ac:chgData name="Manuela Pichler" userId="07a841c1-49c8-4352-a8c3-3a0d96cf9a08" providerId="ADAL" clId="{F7D784F4-EDA8-4F5D-B495-BA84C2DAABD3}" dt="2020-09-30T12:51:37.107" v="425" actId="14100"/>
          <ac:picMkLst>
            <pc:docMk/>
            <pc:sldMk cId="775731749" sldId="2076137618"/>
            <ac:picMk id="7" creationId="{F57D6489-8186-4571-AB94-6B39A3DA119D}"/>
          </ac:picMkLst>
        </pc:picChg>
        <pc:picChg chg="del">
          <ac:chgData name="Manuela Pichler" userId="07a841c1-49c8-4352-a8c3-3a0d96cf9a08" providerId="ADAL" clId="{F7D784F4-EDA8-4F5D-B495-BA84C2DAABD3}" dt="2020-09-30T12:51:22.977" v="420" actId="478"/>
          <ac:picMkLst>
            <pc:docMk/>
            <pc:sldMk cId="775731749" sldId="2076137618"/>
            <ac:picMk id="18" creationId="{7F326784-63BC-46C9-810D-7809FC492B55}"/>
          </ac:picMkLst>
        </pc:picChg>
      </pc:sldChg>
      <pc:sldChg chg="add del setBg modNotes">
        <pc:chgData name="Manuela Pichler" userId="07a841c1-49c8-4352-a8c3-3a0d96cf9a08" providerId="ADAL" clId="{F7D784F4-EDA8-4F5D-B495-BA84C2DAABD3}" dt="2020-09-30T12:52:11.799" v="428" actId="47"/>
        <pc:sldMkLst>
          <pc:docMk/>
          <pc:sldMk cId="1012202007" sldId="2076137623"/>
        </pc:sldMkLst>
      </pc:sldChg>
      <pc:sldChg chg="add del">
        <pc:chgData name="Manuela Pichler" userId="07a841c1-49c8-4352-a8c3-3a0d96cf9a08" providerId="ADAL" clId="{F7D784F4-EDA8-4F5D-B495-BA84C2DAABD3}" dt="2020-09-30T11:27:44.986" v="378" actId="47"/>
        <pc:sldMkLst>
          <pc:docMk/>
          <pc:sldMk cId="527545565" sldId="2076137628"/>
        </pc:sldMkLst>
      </pc:sldChg>
      <pc:sldChg chg="add del">
        <pc:chgData name="Manuela Pichler" userId="07a841c1-49c8-4352-a8c3-3a0d96cf9a08" providerId="ADAL" clId="{F7D784F4-EDA8-4F5D-B495-BA84C2DAABD3}" dt="2020-09-30T11:27:48.770" v="379" actId="47"/>
        <pc:sldMkLst>
          <pc:docMk/>
          <pc:sldMk cId="1698536787" sldId="2076137630"/>
        </pc:sldMkLst>
      </pc:sldChg>
      <pc:sldChg chg="add">
        <pc:chgData name="Manuela Pichler" userId="07a841c1-49c8-4352-a8c3-3a0d96cf9a08" providerId="ADAL" clId="{F7D784F4-EDA8-4F5D-B495-BA84C2DAABD3}" dt="2020-09-30T11:27:28.353" v="374"/>
        <pc:sldMkLst>
          <pc:docMk/>
          <pc:sldMk cId="2430152420" sldId="2076137632"/>
        </pc:sldMkLst>
      </pc:sldChg>
      <pc:sldChg chg="add">
        <pc:chgData name="Manuela Pichler" userId="07a841c1-49c8-4352-a8c3-3a0d96cf9a08" providerId="ADAL" clId="{F7D784F4-EDA8-4F5D-B495-BA84C2DAABD3}" dt="2020-09-30T11:27:28.353" v="374"/>
        <pc:sldMkLst>
          <pc:docMk/>
          <pc:sldMk cId="1465320343" sldId="2076137633"/>
        </pc:sldMkLst>
      </pc:sldChg>
      <pc:sldChg chg="add">
        <pc:chgData name="Manuela Pichler" userId="07a841c1-49c8-4352-a8c3-3a0d96cf9a08" providerId="ADAL" clId="{F7D784F4-EDA8-4F5D-B495-BA84C2DAABD3}" dt="2020-09-30T11:27:28.353" v="374"/>
        <pc:sldMkLst>
          <pc:docMk/>
          <pc:sldMk cId="1626968696" sldId="2076137634"/>
        </pc:sldMkLst>
      </pc:sldChg>
      <pc:sldChg chg="modSp add mod">
        <pc:chgData name="Manuela Pichler" userId="07a841c1-49c8-4352-a8c3-3a0d96cf9a08" providerId="ADAL" clId="{F7D784F4-EDA8-4F5D-B495-BA84C2DAABD3}" dt="2020-09-30T12:53:28.481" v="456" actId="6549"/>
        <pc:sldMkLst>
          <pc:docMk/>
          <pc:sldMk cId="2688090662" sldId="2076137635"/>
        </pc:sldMkLst>
        <pc:spChg chg="mod">
          <ac:chgData name="Manuela Pichler" userId="07a841c1-49c8-4352-a8c3-3a0d96cf9a08" providerId="ADAL" clId="{F7D784F4-EDA8-4F5D-B495-BA84C2DAABD3}" dt="2020-09-30T12:53:28.481" v="456" actId="6549"/>
          <ac:spMkLst>
            <pc:docMk/>
            <pc:sldMk cId="2688090662" sldId="2076137635"/>
            <ac:spMk id="21" creationId="{2120C5A9-C830-4263-A0F2-E28031B2A0C0}"/>
          </ac:spMkLst>
        </pc:spChg>
      </pc:sldChg>
      <pc:sldChg chg="add">
        <pc:chgData name="Manuela Pichler" userId="07a841c1-49c8-4352-a8c3-3a0d96cf9a08" providerId="ADAL" clId="{F7D784F4-EDA8-4F5D-B495-BA84C2DAABD3}" dt="2020-09-30T11:24:48.501" v="318"/>
        <pc:sldMkLst>
          <pc:docMk/>
          <pc:sldMk cId="1322682895" sldId="2076137637"/>
        </pc:sldMkLst>
      </pc:sldChg>
      <pc:sldChg chg="add del">
        <pc:chgData name="Manuela Pichler" userId="07a841c1-49c8-4352-a8c3-3a0d96cf9a08" providerId="ADAL" clId="{F7D784F4-EDA8-4F5D-B495-BA84C2DAABD3}" dt="2020-09-30T12:53:13.698" v="455" actId="47"/>
        <pc:sldMkLst>
          <pc:docMk/>
          <pc:sldMk cId="3701969416" sldId="2076137638"/>
        </pc:sldMkLst>
      </pc:sldChg>
      <pc:sldChg chg="add">
        <pc:chgData name="Manuela Pichler" userId="07a841c1-49c8-4352-a8c3-3a0d96cf9a08" providerId="ADAL" clId="{F7D784F4-EDA8-4F5D-B495-BA84C2DAABD3}" dt="2020-09-30T11:24:48.501" v="318"/>
        <pc:sldMkLst>
          <pc:docMk/>
          <pc:sldMk cId="341860283" sldId="2076137639"/>
        </pc:sldMkLst>
      </pc:sldChg>
      <pc:sldChg chg="add">
        <pc:chgData name="Manuela Pichler" userId="07a841c1-49c8-4352-a8c3-3a0d96cf9a08" providerId="ADAL" clId="{F7D784F4-EDA8-4F5D-B495-BA84C2DAABD3}" dt="2020-09-30T11:27:28.353" v="374"/>
        <pc:sldMkLst>
          <pc:docMk/>
          <pc:sldMk cId="416079826" sldId="2076137641"/>
        </pc:sldMkLst>
      </pc:sldChg>
      <pc:sldChg chg="add">
        <pc:chgData name="Manuela Pichler" userId="07a841c1-49c8-4352-a8c3-3a0d96cf9a08" providerId="ADAL" clId="{F7D784F4-EDA8-4F5D-B495-BA84C2DAABD3}" dt="2020-09-30T11:27:28.353" v="374"/>
        <pc:sldMkLst>
          <pc:docMk/>
          <pc:sldMk cId="1194706639" sldId="2076137642"/>
        </pc:sldMkLst>
      </pc:sldChg>
      <pc:sldChg chg="add">
        <pc:chgData name="Manuela Pichler" userId="07a841c1-49c8-4352-a8c3-3a0d96cf9a08" providerId="ADAL" clId="{F7D784F4-EDA8-4F5D-B495-BA84C2DAABD3}" dt="2020-09-30T11:27:28.353" v="374"/>
        <pc:sldMkLst>
          <pc:docMk/>
          <pc:sldMk cId="2474510760" sldId="2076137643"/>
        </pc:sldMkLst>
      </pc:sldChg>
      <pc:sldChg chg="add del">
        <pc:chgData name="Manuela Pichler" userId="07a841c1-49c8-4352-a8c3-3a0d96cf9a08" providerId="ADAL" clId="{F7D784F4-EDA8-4F5D-B495-BA84C2DAABD3}" dt="2020-09-30T11:22:35.726" v="284" actId="47"/>
        <pc:sldMkLst>
          <pc:docMk/>
          <pc:sldMk cId="601032295" sldId="2076137649"/>
        </pc:sldMkLst>
      </pc:sldChg>
      <pc:sldChg chg="modSp add del mod">
        <pc:chgData name="Manuela Pichler" userId="07a841c1-49c8-4352-a8c3-3a0d96cf9a08" providerId="ADAL" clId="{F7D784F4-EDA8-4F5D-B495-BA84C2DAABD3}" dt="2020-09-30T11:28:53.982" v="409" actId="12100"/>
        <pc:sldMkLst>
          <pc:docMk/>
          <pc:sldMk cId="1352860513" sldId="2076137650"/>
        </pc:sldMkLst>
        <pc:graphicFrameChg chg="mod modGraphic">
          <ac:chgData name="Manuela Pichler" userId="07a841c1-49c8-4352-a8c3-3a0d96cf9a08" providerId="ADAL" clId="{F7D784F4-EDA8-4F5D-B495-BA84C2DAABD3}" dt="2020-09-30T11:07:00.985" v="56" actId="20577"/>
          <ac:graphicFrameMkLst>
            <pc:docMk/>
            <pc:sldMk cId="1352860513" sldId="2076137650"/>
            <ac:graphicFrameMk id="3" creationId="{BE58F067-D2F9-4AA3-B3C9-81DC33F10AD9}"/>
          </ac:graphicFrameMkLst>
        </pc:graphicFrameChg>
        <pc:graphicFrameChg chg="mod">
          <ac:chgData name="Manuela Pichler" userId="07a841c1-49c8-4352-a8c3-3a0d96cf9a08" providerId="ADAL" clId="{F7D784F4-EDA8-4F5D-B495-BA84C2DAABD3}" dt="2020-09-30T11:28:53.982" v="409" actId="12100"/>
          <ac:graphicFrameMkLst>
            <pc:docMk/>
            <pc:sldMk cId="1352860513" sldId="2076137650"/>
            <ac:graphicFrameMk id="8" creationId="{BDF76376-96FF-425B-AD02-C9788E410B4C}"/>
          </ac:graphicFrameMkLst>
        </pc:graphicFrameChg>
      </pc:sldChg>
      <pc:sldChg chg="add">
        <pc:chgData name="Manuela Pichler" userId="07a841c1-49c8-4352-a8c3-3a0d96cf9a08" providerId="ADAL" clId="{F7D784F4-EDA8-4F5D-B495-BA84C2DAABD3}" dt="2020-09-30T11:22:50.593" v="285"/>
        <pc:sldMkLst>
          <pc:docMk/>
          <pc:sldMk cId="2892899978" sldId="2076137653"/>
        </pc:sldMkLst>
      </pc:sldChg>
      <pc:sldChg chg="add del">
        <pc:chgData name="Manuela Pichler" userId="07a841c1-49c8-4352-a8c3-3a0d96cf9a08" providerId="ADAL" clId="{F7D784F4-EDA8-4F5D-B495-BA84C2DAABD3}" dt="2020-09-30T11:22:53.366" v="286" actId="47"/>
        <pc:sldMkLst>
          <pc:docMk/>
          <pc:sldMk cId="3627073084" sldId="2076137654"/>
        </pc:sldMkLst>
      </pc:sldChg>
      <pc:sldChg chg="addSp delSp modSp add modNotesTx">
        <pc:chgData name="Manuela Pichler" userId="07a841c1-49c8-4352-a8c3-3a0d96cf9a08" providerId="ADAL" clId="{F7D784F4-EDA8-4F5D-B495-BA84C2DAABD3}" dt="2020-09-30T12:57:54.320" v="554" actId="6549"/>
        <pc:sldMkLst>
          <pc:docMk/>
          <pc:sldMk cId="4081137852" sldId="2076137656"/>
        </pc:sldMkLst>
        <pc:spChg chg="del">
          <ac:chgData name="Manuela Pichler" userId="07a841c1-49c8-4352-a8c3-3a0d96cf9a08" providerId="ADAL" clId="{F7D784F4-EDA8-4F5D-B495-BA84C2DAABD3}" dt="2020-09-30T12:57:00.951" v="549" actId="478"/>
          <ac:spMkLst>
            <pc:docMk/>
            <pc:sldMk cId="4081137852" sldId="2076137656"/>
            <ac:spMk id="8" creationId="{A53F1158-03FA-4073-8A0F-69A485D48033}"/>
          </ac:spMkLst>
        </pc:spChg>
        <pc:spChg chg="del">
          <ac:chgData name="Manuela Pichler" userId="07a841c1-49c8-4352-a8c3-3a0d96cf9a08" providerId="ADAL" clId="{F7D784F4-EDA8-4F5D-B495-BA84C2DAABD3}" dt="2020-09-30T12:57:04.038" v="551" actId="478"/>
          <ac:spMkLst>
            <pc:docMk/>
            <pc:sldMk cId="4081137852" sldId="2076137656"/>
            <ac:spMk id="9" creationId="{601EFE86-CB5A-4B3E-A298-ACE18D9D16D6}"/>
          </ac:spMkLst>
        </pc:spChg>
        <pc:spChg chg="mod">
          <ac:chgData name="Manuela Pichler" userId="07a841c1-49c8-4352-a8c3-3a0d96cf9a08" providerId="ADAL" clId="{F7D784F4-EDA8-4F5D-B495-BA84C2DAABD3}" dt="2020-09-30T12:57:01.351" v="550"/>
          <ac:spMkLst>
            <pc:docMk/>
            <pc:sldMk cId="4081137852" sldId="2076137656"/>
            <ac:spMk id="47" creationId="{9DE74EA8-DBF3-4257-B3AE-7803CAD65BCC}"/>
          </ac:spMkLst>
        </pc:spChg>
        <pc:spChg chg="mod">
          <ac:chgData name="Manuela Pichler" userId="07a841c1-49c8-4352-a8c3-3a0d96cf9a08" providerId="ADAL" clId="{F7D784F4-EDA8-4F5D-B495-BA84C2DAABD3}" dt="2020-09-30T12:57:01.351" v="550"/>
          <ac:spMkLst>
            <pc:docMk/>
            <pc:sldMk cId="4081137852" sldId="2076137656"/>
            <ac:spMk id="51" creationId="{5DF8366B-52B6-47D9-A20C-E8FAC37E54EC}"/>
          </ac:spMkLst>
        </pc:spChg>
        <pc:spChg chg="mod">
          <ac:chgData name="Manuela Pichler" userId="07a841c1-49c8-4352-a8c3-3a0d96cf9a08" providerId="ADAL" clId="{F7D784F4-EDA8-4F5D-B495-BA84C2DAABD3}" dt="2020-09-30T12:57:01.351" v="550"/>
          <ac:spMkLst>
            <pc:docMk/>
            <pc:sldMk cId="4081137852" sldId="2076137656"/>
            <ac:spMk id="52" creationId="{E0F4C303-FE6F-43F2-A94A-36D7AC6A9509}"/>
          </ac:spMkLst>
        </pc:spChg>
        <pc:spChg chg="mod">
          <ac:chgData name="Manuela Pichler" userId="07a841c1-49c8-4352-a8c3-3a0d96cf9a08" providerId="ADAL" clId="{F7D784F4-EDA8-4F5D-B495-BA84C2DAABD3}" dt="2020-09-30T12:57:07.735" v="553" actId="1076"/>
          <ac:spMkLst>
            <pc:docMk/>
            <pc:sldMk cId="4081137852" sldId="2076137656"/>
            <ac:spMk id="55" creationId="{63383C69-C00F-4601-8791-AC1703601A01}"/>
          </ac:spMkLst>
        </pc:spChg>
        <pc:spChg chg="mod">
          <ac:chgData name="Manuela Pichler" userId="07a841c1-49c8-4352-a8c3-3a0d96cf9a08" providerId="ADAL" clId="{F7D784F4-EDA8-4F5D-B495-BA84C2DAABD3}" dt="2020-09-30T12:57:07.735" v="553" actId="1076"/>
          <ac:spMkLst>
            <pc:docMk/>
            <pc:sldMk cId="4081137852" sldId="2076137656"/>
            <ac:spMk id="63" creationId="{F7CEB00F-D90F-4A62-A434-08C93A08E61F}"/>
          </ac:spMkLst>
        </pc:spChg>
        <pc:spChg chg="mod">
          <ac:chgData name="Manuela Pichler" userId="07a841c1-49c8-4352-a8c3-3a0d96cf9a08" providerId="ADAL" clId="{F7D784F4-EDA8-4F5D-B495-BA84C2DAABD3}" dt="2020-09-30T12:57:07.735" v="553" actId="1076"/>
          <ac:spMkLst>
            <pc:docMk/>
            <pc:sldMk cId="4081137852" sldId="2076137656"/>
            <ac:spMk id="64" creationId="{D2A9C206-7E04-4AC9-9AC8-FF4781CC5B09}"/>
          </ac:spMkLst>
        </pc:spChg>
        <pc:grpChg chg="del">
          <ac:chgData name="Manuela Pichler" userId="07a841c1-49c8-4352-a8c3-3a0d96cf9a08" providerId="ADAL" clId="{F7D784F4-EDA8-4F5D-B495-BA84C2DAABD3}" dt="2020-09-30T12:57:00.951" v="549" actId="478"/>
          <ac:grpSpMkLst>
            <pc:docMk/>
            <pc:sldMk cId="4081137852" sldId="2076137656"/>
            <ac:grpSpMk id="29" creationId="{EFEC83CB-8264-497F-8B96-A508B0FE1542}"/>
          </ac:grpSpMkLst>
        </pc:grpChg>
        <pc:grpChg chg="del">
          <ac:chgData name="Manuela Pichler" userId="07a841c1-49c8-4352-a8c3-3a0d96cf9a08" providerId="ADAL" clId="{F7D784F4-EDA8-4F5D-B495-BA84C2DAABD3}" dt="2020-09-30T12:57:04.038" v="551" actId="478"/>
          <ac:grpSpMkLst>
            <pc:docMk/>
            <pc:sldMk cId="4081137852" sldId="2076137656"/>
            <ac:grpSpMk id="36" creationId="{67E3AEC4-5583-4B77-ADD5-3836ABCD2D04}"/>
          </ac:grpSpMkLst>
        </pc:grpChg>
        <pc:grpChg chg="add mod">
          <ac:chgData name="Manuela Pichler" userId="07a841c1-49c8-4352-a8c3-3a0d96cf9a08" providerId="ADAL" clId="{F7D784F4-EDA8-4F5D-B495-BA84C2DAABD3}" dt="2020-09-30T12:57:01.351" v="550"/>
          <ac:grpSpMkLst>
            <pc:docMk/>
            <pc:sldMk cId="4081137852" sldId="2076137656"/>
            <ac:grpSpMk id="46" creationId="{6E2C4C32-C482-4843-A994-18448F1C7735}"/>
          </ac:grpSpMkLst>
        </pc:grpChg>
        <pc:grpChg chg="mod">
          <ac:chgData name="Manuela Pichler" userId="07a841c1-49c8-4352-a8c3-3a0d96cf9a08" providerId="ADAL" clId="{F7D784F4-EDA8-4F5D-B495-BA84C2DAABD3}" dt="2020-09-30T12:57:01.351" v="550"/>
          <ac:grpSpMkLst>
            <pc:docMk/>
            <pc:sldMk cId="4081137852" sldId="2076137656"/>
            <ac:grpSpMk id="48" creationId="{C76B745E-FFBA-4823-B7B0-E4358296ABF1}"/>
          </ac:grpSpMkLst>
        </pc:grpChg>
        <pc:grpChg chg="add mod">
          <ac:chgData name="Manuela Pichler" userId="07a841c1-49c8-4352-a8c3-3a0d96cf9a08" providerId="ADAL" clId="{F7D784F4-EDA8-4F5D-B495-BA84C2DAABD3}" dt="2020-09-30T12:57:07.735" v="553" actId="1076"/>
          <ac:grpSpMkLst>
            <pc:docMk/>
            <pc:sldMk cId="4081137852" sldId="2076137656"/>
            <ac:grpSpMk id="54" creationId="{32A9D5B6-9954-431E-9E44-E9997AB00A3B}"/>
          </ac:grpSpMkLst>
        </pc:grpChg>
        <pc:grpChg chg="mod">
          <ac:chgData name="Manuela Pichler" userId="07a841c1-49c8-4352-a8c3-3a0d96cf9a08" providerId="ADAL" clId="{F7D784F4-EDA8-4F5D-B495-BA84C2DAABD3}" dt="2020-09-30T12:57:07.735" v="553" actId="1076"/>
          <ac:grpSpMkLst>
            <pc:docMk/>
            <pc:sldMk cId="4081137852" sldId="2076137656"/>
            <ac:grpSpMk id="59" creationId="{A428BA83-1C91-47ED-8747-21E328D07042}"/>
          </ac:grpSpMkLst>
        </pc:grpChg>
        <pc:picChg chg="mod">
          <ac:chgData name="Manuela Pichler" userId="07a841c1-49c8-4352-a8c3-3a0d96cf9a08" providerId="ADAL" clId="{F7D784F4-EDA8-4F5D-B495-BA84C2DAABD3}" dt="2020-09-30T12:57:01.351" v="550"/>
          <ac:picMkLst>
            <pc:docMk/>
            <pc:sldMk cId="4081137852" sldId="2076137656"/>
            <ac:picMk id="49" creationId="{98AA2627-136C-4F72-8454-6ED8144D340E}"/>
          </ac:picMkLst>
        </pc:picChg>
        <pc:picChg chg="mod">
          <ac:chgData name="Manuela Pichler" userId="07a841c1-49c8-4352-a8c3-3a0d96cf9a08" providerId="ADAL" clId="{F7D784F4-EDA8-4F5D-B495-BA84C2DAABD3}" dt="2020-09-30T12:57:01.351" v="550"/>
          <ac:picMkLst>
            <pc:docMk/>
            <pc:sldMk cId="4081137852" sldId="2076137656"/>
            <ac:picMk id="50" creationId="{5BBBE0BD-9CBC-48FD-8B61-856DB708BCD6}"/>
          </ac:picMkLst>
        </pc:picChg>
        <pc:picChg chg="mod">
          <ac:chgData name="Manuela Pichler" userId="07a841c1-49c8-4352-a8c3-3a0d96cf9a08" providerId="ADAL" clId="{F7D784F4-EDA8-4F5D-B495-BA84C2DAABD3}" dt="2020-09-30T12:57:07.735" v="553" actId="1076"/>
          <ac:picMkLst>
            <pc:docMk/>
            <pc:sldMk cId="4081137852" sldId="2076137656"/>
            <ac:picMk id="60" creationId="{E7CE2947-C940-4883-B477-9A5A6E38E8AC}"/>
          </ac:picMkLst>
        </pc:picChg>
        <pc:picChg chg="mod">
          <ac:chgData name="Manuela Pichler" userId="07a841c1-49c8-4352-a8c3-3a0d96cf9a08" providerId="ADAL" clId="{F7D784F4-EDA8-4F5D-B495-BA84C2DAABD3}" dt="2020-09-30T12:57:07.735" v="553" actId="1076"/>
          <ac:picMkLst>
            <pc:docMk/>
            <pc:sldMk cId="4081137852" sldId="2076137656"/>
            <ac:picMk id="62" creationId="{A1C0D2DB-4E0E-40BE-A716-1F2EED8787CA}"/>
          </ac:picMkLst>
        </pc:picChg>
      </pc:sldChg>
      <pc:sldChg chg="addSp delSp modSp mod">
        <pc:chgData name="Manuela Pichler" userId="07a841c1-49c8-4352-a8c3-3a0d96cf9a08" providerId="ADAL" clId="{F7D784F4-EDA8-4F5D-B495-BA84C2DAABD3}" dt="2020-09-30T13:00:28.390" v="568" actId="14100"/>
        <pc:sldMkLst>
          <pc:docMk/>
          <pc:sldMk cId="855816101" sldId="2076137876"/>
        </pc:sldMkLst>
        <pc:spChg chg="del">
          <ac:chgData name="Manuela Pichler" userId="07a841c1-49c8-4352-a8c3-3a0d96cf9a08" providerId="ADAL" clId="{F7D784F4-EDA8-4F5D-B495-BA84C2DAABD3}" dt="2020-09-30T12:59:23.190" v="564" actId="478"/>
          <ac:spMkLst>
            <pc:docMk/>
            <pc:sldMk cId="855816101" sldId="2076137876"/>
            <ac:spMk id="21" creationId="{FB85306B-2CF6-48B4-9398-C4D4F38F3A37}"/>
          </ac:spMkLst>
        </pc:spChg>
        <pc:spChg chg="del">
          <ac:chgData name="Manuela Pichler" userId="07a841c1-49c8-4352-a8c3-3a0d96cf9a08" providerId="ADAL" clId="{F7D784F4-EDA8-4F5D-B495-BA84C2DAABD3}" dt="2020-09-30T12:59:25.278" v="565" actId="478"/>
          <ac:spMkLst>
            <pc:docMk/>
            <pc:sldMk cId="855816101" sldId="2076137876"/>
            <ac:spMk id="26" creationId="{282BA9AB-322F-4D56-9CE7-E3125335ECBE}"/>
          </ac:spMkLst>
        </pc:spChg>
        <pc:picChg chg="add mod">
          <ac:chgData name="Manuela Pichler" userId="07a841c1-49c8-4352-a8c3-3a0d96cf9a08" providerId="ADAL" clId="{F7D784F4-EDA8-4F5D-B495-BA84C2DAABD3}" dt="2020-09-30T13:00:28.390" v="568" actId="14100"/>
          <ac:picMkLst>
            <pc:docMk/>
            <pc:sldMk cId="855816101" sldId="2076137876"/>
            <ac:picMk id="4" creationId="{2A53AAA5-4BC2-4332-8735-AE395227FA9D}"/>
          </ac:picMkLst>
        </pc:picChg>
        <pc:picChg chg="add del mod">
          <ac:chgData name="Manuela Pichler" userId="07a841c1-49c8-4352-a8c3-3a0d96cf9a08" providerId="ADAL" clId="{F7D784F4-EDA8-4F5D-B495-BA84C2DAABD3}" dt="2020-09-30T12:59:35.023" v="566" actId="1076"/>
          <ac:picMkLst>
            <pc:docMk/>
            <pc:sldMk cId="855816101" sldId="2076137876"/>
            <ac:picMk id="19" creationId="{04C41511-6CA1-46D7-8854-258C30CC5070}"/>
          </ac:picMkLst>
        </pc:picChg>
        <pc:picChg chg="del">
          <ac:chgData name="Manuela Pichler" userId="07a841c1-49c8-4352-a8c3-3a0d96cf9a08" providerId="ADAL" clId="{F7D784F4-EDA8-4F5D-B495-BA84C2DAABD3}" dt="2020-09-30T12:59:18.701" v="562" actId="478"/>
          <ac:picMkLst>
            <pc:docMk/>
            <pc:sldMk cId="855816101" sldId="2076137876"/>
            <ac:picMk id="20" creationId="{CB5F8F68-F0C9-45F6-9371-62C102ECAA4D}"/>
          </ac:picMkLst>
        </pc:picChg>
      </pc:sldChg>
      <pc:sldChg chg="addSp delSp modSp del mod">
        <pc:chgData name="Manuela Pichler" userId="07a841c1-49c8-4352-a8c3-3a0d96cf9a08" providerId="ADAL" clId="{F7D784F4-EDA8-4F5D-B495-BA84C2DAABD3}" dt="2020-09-30T11:16:08.867" v="189" actId="47"/>
        <pc:sldMkLst>
          <pc:docMk/>
          <pc:sldMk cId="2297110349" sldId="2076137879"/>
        </pc:sldMkLst>
        <pc:spChg chg="add del mod">
          <ac:chgData name="Manuela Pichler" userId="07a841c1-49c8-4352-a8c3-3a0d96cf9a08" providerId="ADAL" clId="{F7D784F4-EDA8-4F5D-B495-BA84C2DAABD3}" dt="2020-09-30T11:10:39.450" v="70" actId="478"/>
          <ac:spMkLst>
            <pc:docMk/>
            <pc:sldMk cId="2297110349" sldId="2076137879"/>
            <ac:spMk id="2" creationId="{2C1AEF27-88E5-4376-8AB1-5F44A40BCDCD}"/>
          </ac:spMkLst>
        </pc:spChg>
        <pc:spChg chg="add del mod">
          <ac:chgData name="Manuela Pichler" userId="07a841c1-49c8-4352-a8c3-3a0d96cf9a08" providerId="ADAL" clId="{F7D784F4-EDA8-4F5D-B495-BA84C2DAABD3}" dt="2020-09-30T11:10:39.450" v="70" actId="478"/>
          <ac:spMkLst>
            <pc:docMk/>
            <pc:sldMk cId="2297110349" sldId="2076137879"/>
            <ac:spMk id="3" creationId="{525DA1BC-D256-4A0F-AF53-E62694240BDD}"/>
          </ac:spMkLst>
        </pc:spChg>
        <pc:spChg chg="add del mod">
          <ac:chgData name="Manuela Pichler" userId="07a841c1-49c8-4352-a8c3-3a0d96cf9a08" providerId="ADAL" clId="{F7D784F4-EDA8-4F5D-B495-BA84C2DAABD3}" dt="2020-09-30T11:10:39.450" v="70" actId="478"/>
          <ac:spMkLst>
            <pc:docMk/>
            <pc:sldMk cId="2297110349" sldId="2076137879"/>
            <ac:spMk id="4" creationId="{CDABC37A-FA57-49BA-A0D5-1E698A2E2061}"/>
          </ac:spMkLst>
        </pc:spChg>
        <pc:spChg chg="add del mod">
          <ac:chgData name="Manuela Pichler" userId="07a841c1-49c8-4352-a8c3-3a0d96cf9a08" providerId="ADAL" clId="{F7D784F4-EDA8-4F5D-B495-BA84C2DAABD3}" dt="2020-09-30T11:10:39.450" v="70" actId="478"/>
          <ac:spMkLst>
            <pc:docMk/>
            <pc:sldMk cId="2297110349" sldId="2076137879"/>
            <ac:spMk id="5" creationId="{E4BC7E87-47EA-4F49-9F27-447B6BEF8B57}"/>
          </ac:spMkLst>
        </pc:spChg>
        <pc:spChg chg="add del mod">
          <ac:chgData name="Manuela Pichler" userId="07a841c1-49c8-4352-a8c3-3a0d96cf9a08" providerId="ADAL" clId="{F7D784F4-EDA8-4F5D-B495-BA84C2DAABD3}" dt="2020-09-30T11:10:39.450" v="70" actId="478"/>
          <ac:spMkLst>
            <pc:docMk/>
            <pc:sldMk cId="2297110349" sldId="2076137879"/>
            <ac:spMk id="6" creationId="{48EE23CB-C614-46AC-84F4-1EB792AC8ED4}"/>
          </ac:spMkLst>
        </pc:spChg>
        <pc:spChg chg="add del mod">
          <ac:chgData name="Manuela Pichler" userId="07a841c1-49c8-4352-a8c3-3a0d96cf9a08" providerId="ADAL" clId="{F7D784F4-EDA8-4F5D-B495-BA84C2DAABD3}" dt="2020-09-30T11:10:39.450" v="70" actId="478"/>
          <ac:spMkLst>
            <pc:docMk/>
            <pc:sldMk cId="2297110349" sldId="2076137879"/>
            <ac:spMk id="10" creationId="{55EA8865-03FF-4FAF-BCC2-DDF4DC578B79}"/>
          </ac:spMkLst>
        </pc:spChg>
        <pc:spChg chg="mod">
          <ac:chgData name="Manuela Pichler" userId="07a841c1-49c8-4352-a8c3-3a0d96cf9a08" providerId="ADAL" clId="{F7D784F4-EDA8-4F5D-B495-BA84C2DAABD3}" dt="2020-09-30T11:09:45.620" v="64" actId="1076"/>
          <ac:spMkLst>
            <pc:docMk/>
            <pc:sldMk cId="2297110349" sldId="2076137879"/>
            <ac:spMk id="13" creationId="{30817820-8A8B-4186-B7A0-58106D9F1C70}"/>
          </ac:spMkLst>
        </pc:spChg>
        <pc:spChg chg="mod">
          <ac:chgData name="Manuela Pichler" userId="07a841c1-49c8-4352-a8c3-3a0d96cf9a08" providerId="ADAL" clId="{F7D784F4-EDA8-4F5D-B495-BA84C2DAABD3}" dt="2020-09-30T11:09:45.620" v="64" actId="1076"/>
          <ac:spMkLst>
            <pc:docMk/>
            <pc:sldMk cId="2297110349" sldId="2076137879"/>
            <ac:spMk id="16" creationId="{75FF741B-FDBF-42C6-905D-AC512AC2F8D6}"/>
          </ac:spMkLst>
        </pc:spChg>
        <pc:spChg chg="mod">
          <ac:chgData name="Manuela Pichler" userId="07a841c1-49c8-4352-a8c3-3a0d96cf9a08" providerId="ADAL" clId="{F7D784F4-EDA8-4F5D-B495-BA84C2DAABD3}" dt="2020-09-30T11:09:45.620" v="64" actId="1076"/>
          <ac:spMkLst>
            <pc:docMk/>
            <pc:sldMk cId="2297110349" sldId="2076137879"/>
            <ac:spMk id="17" creationId="{FDB58F98-7B3A-49FD-99CD-1723EBA71C11}"/>
          </ac:spMkLst>
        </pc:spChg>
        <pc:spChg chg="mod">
          <ac:chgData name="Manuela Pichler" userId="07a841c1-49c8-4352-a8c3-3a0d96cf9a08" providerId="ADAL" clId="{F7D784F4-EDA8-4F5D-B495-BA84C2DAABD3}" dt="2020-09-30T11:09:45.620" v="64" actId="1076"/>
          <ac:spMkLst>
            <pc:docMk/>
            <pc:sldMk cId="2297110349" sldId="2076137879"/>
            <ac:spMk id="18" creationId="{C21DEB46-2308-4813-98C2-954BBAEAA64F}"/>
          </ac:spMkLst>
        </pc:spChg>
        <pc:spChg chg="mod">
          <ac:chgData name="Manuela Pichler" userId="07a841c1-49c8-4352-a8c3-3a0d96cf9a08" providerId="ADAL" clId="{F7D784F4-EDA8-4F5D-B495-BA84C2DAABD3}" dt="2020-09-30T11:09:45.620" v="64" actId="1076"/>
          <ac:spMkLst>
            <pc:docMk/>
            <pc:sldMk cId="2297110349" sldId="2076137879"/>
            <ac:spMk id="20" creationId="{4E11C678-9586-453E-A7CB-BD2ED5AF8968}"/>
          </ac:spMkLst>
        </pc:spChg>
        <pc:spChg chg="mod">
          <ac:chgData name="Manuela Pichler" userId="07a841c1-49c8-4352-a8c3-3a0d96cf9a08" providerId="ADAL" clId="{F7D784F4-EDA8-4F5D-B495-BA84C2DAABD3}" dt="2020-09-30T11:09:41.103" v="62" actId="1076"/>
          <ac:spMkLst>
            <pc:docMk/>
            <pc:sldMk cId="2297110349" sldId="2076137879"/>
            <ac:spMk id="21" creationId="{39A19E80-6285-4533-A012-0FE907726CAC}"/>
          </ac:spMkLst>
        </pc:spChg>
        <pc:spChg chg="mod">
          <ac:chgData name="Manuela Pichler" userId="07a841c1-49c8-4352-a8c3-3a0d96cf9a08" providerId="ADAL" clId="{F7D784F4-EDA8-4F5D-B495-BA84C2DAABD3}" dt="2020-09-30T11:09:45.620" v="64" actId="1076"/>
          <ac:spMkLst>
            <pc:docMk/>
            <pc:sldMk cId="2297110349" sldId="2076137879"/>
            <ac:spMk id="23" creationId="{81A3BEA2-DAA3-4F8F-B6B8-6CD8814FD99E}"/>
          </ac:spMkLst>
        </pc:spChg>
        <pc:spChg chg="mod">
          <ac:chgData name="Manuela Pichler" userId="07a841c1-49c8-4352-a8c3-3a0d96cf9a08" providerId="ADAL" clId="{F7D784F4-EDA8-4F5D-B495-BA84C2DAABD3}" dt="2020-09-30T11:09:45.620" v="64" actId="1076"/>
          <ac:spMkLst>
            <pc:docMk/>
            <pc:sldMk cId="2297110349" sldId="2076137879"/>
            <ac:spMk id="24" creationId="{D08D1B8E-8A4C-4DB1-9940-CC15D657E23B}"/>
          </ac:spMkLst>
        </pc:spChg>
        <pc:spChg chg="mod">
          <ac:chgData name="Manuela Pichler" userId="07a841c1-49c8-4352-a8c3-3a0d96cf9a08" providerId="ADAL" clId="{F7D784F4-EDA8-4F5D-B495-BA84C2DAABD3}" dt="2020-09-30T11:09:45.620" v="64" actId="1076"/>
          <ac:spMkLst>
            <pc:docMk/>
            <pc:sldMk cId="2297110349" sldId="2076137879"/>
            <ac:spMk id="25" creationId="{37BE0DA5-668A-4406-8FBA-82B3368C713E}"/>
          </ac:spMkLst>
        </pc:spChg>
        <pc:spChg chg="mod">
          <ac:chgData name="Manuela Pichler" userId="07a841c1-49c8-4352-a8c3-3a0d96cf9a08" providerId="ADAL" clId="{F7D784F4-EDA8-4F5D-B495-BA84C2DAABD3}" dt="2020-09-30T11:09:45.620" v="64" actId="1076"/>
          <ac:spMkLst>
            <pc:docMk/>
            <pc:sldMk cId="2297110349" sldId="2076137879"/>
            <ac:spMk id="26" creationId="{590184AF-C84C-4E12-A3C0-B80B8B46AC55}"/>
          </ac:spMkLst>
        </pc:spChg>
        <pc:spChg chg="mod">
          <ac:chgData name="Manuela Pichler" userId="07a841c1-49c8-4352-a8c3-3a0d96cf9a08" providerId="ADAL" clId="{F7D784F4-EDA8-4F5D-B495-BA84C2DAABD3}" dt="2020-09-30T11:09:45.620" v="64" actId="1076"/>
          <ac:spMkLst>
            <pc:docMk/>
            <pc:sldMk cId="2297110349" sldId="2076137879"/>
            <ac:spMk id="28" creationId="{AD42F9B2-3D49-40C7-9FDC-BB97DAEB7E38}"/>
          </ac:spMkLst>
        </pc:spChg>
        <pc:spChg chg="mod">
          <ac:chgData name="Manuela Pichler" userId="07a841c1-49c8-4352-a8c3-3a0d96cf9a08" providerId="ADAL" clId="{F7D784F4-EDA8-4F5D-B495-BA84C2DAABD3}" dt="2020-09-30T11:09:45.620" v="64" actId="1076"/>
          <ac:spMkLst>
            <pc:docMk/>
            <pc:sldMk cId="2297110349" sldId="2076137879"/>
            <ac:spMk id="29" creationId="{E89C2279-FB97-4749-91B9-6F177D1ACFF0}"/>
          </ac:spMkLst>
        </pc:spChg>
        <pc:spChg chg="mod">
          <ac:chgData name="Manuela Pichler" userId="07a841c1-49c8-4352-a8c3-3a0d96cf9a08" providerId="ADAL" clId="{F7D784F4-EDA8-4F5D-B495-BA84C2DAABD3}" dt="2020-09-30T11:09:45.620" v="64" actId="1076"/>
          <ac:spMkLst>
            <pc:docMk/>
            <pc:sldMk cId="2297110349" sldId="2076137879"/>
            <ac:spMk id="35" creationId="{D483CD3C-4E8A-44F9-B491-503393F3BE72}"/>
          </ac:spMkLst>
        </pc:spChg>
        <pc:spChg chg="mod">
          <ac:chgData name="Manuela Pichler" userId="07a841c1-49c8-4352-a8c3-3a0d96cf9a08" providerId="ADAL" clId="{F7D784F4-EDA8-4F5D-B495-BA84C2DAABD3}" dt="2020-09-30T11:09:45.620" v="64" actId="1076"/>
          <ac:spMkLst>
            <pc:docMk/>
            <pc:sldMk cId="2297110349" sldId="2076137879"/>
            <ac:spMk id="36" creationId="{C6ABECCF-A196-412F-A75D-0E890CB0D474}"/>
          </ac:spMkLst>
        </pc:spChg>
        <pc:spChg chg="mod">
          <ac:chgData name="Manuela Pichler" userId="07a841c1-49c8-4352-a8c3-3a0d96cf9a08" providerId="ADAL" clId="{F7D784F4-EDA8-4F5D-B495-BA84C2DAABD3}" dt="2020-09-30T11:09:45.620" v="64" actId="1076"/>
          <ac:spMkLst>
            <pc:docMk/>
            <pc:sldMk cId="2297110349" sldId="2076137879"/>
            <ac:spMk id="37" creationId="{DE775363-F269-480C-9208-1EE5D3C4CB5A}"/>
          </ac:spMkLst>
        </pc:spChg>
        <pc:spChg chg="mod">
          <ac:chgData name="Manuela Pichler" userId="07a841c1-49c8-4352-a8c3-3a0d96cf9a08" providerId="ADAL" clId="{F7D784F4-EDA8-4F5D-B495-BA84C2DAABD3}" dt="2020-09-30T11:09:45.620" v="64" actId="1076"/>
          <ac:spMkLst>
            <pc:docMk/>
            <pc:sldMk cId="2297110349" sldId="2076137879"/>
            <ac:spMk id="39" creationId="{C192554D-A907-4E73-BFCC-F491C7F90244}"/>
          </ac:spMkLst>
        </pc:spChg>
        <pc:spChg chg="mod">
          <ac:chgData name="Manuela Pichler" userId="07a841c1-49c8-4352-a8c3-3a0d96cf9a08" providerId="ADAL" clId="{F7D784F4-EDA8-4F5D-B495-BA84C2DAABD3}" dt="2020-09-30T11:09:45.620" v="64" actId="1076"/>
          <ac:spMkLst>
            <pc:docMk/>
            <pc:sldMk cId="2297110349" sldId="2076137879"/>
            <ac:spMk id="40" creationId="{1C308894-87D5-4706-B280-01E6BC828336}"/>
          </ac:spMkLst>
        </pc:spChg>
        <pc:spChg chg="mod">
          <ac:chgData name="Manuela Pichler" userId="07a841c1-49c8-4352-a8c3-3a0d96cf9a08" providerId="ADAL" clId="{F7D784F4-EDA8-4F5D-B495-BA84C2DAABD3}" dt="2020-09-30T11:09:45.620" v="64" actId="1076"/>
          <ac:spMkLst>
            <pc:docMk/>
            <pc:sldMk cId="2297110349" sldId="2076137879"/>
            <ac:spMk id="42" creationId="{A4BE0335-26F4-434B-947D-6EBB058A6BF0}"/>
          </ac:spMkLst>
        </pc:spChg>
        <pc:spChg chg="mod">
          <ac:chgData name="Manuela Pichler" userId="07a841c1-49c8-4352-a8c3-3a0d96cf9a08" providerId="ADAL" clId="{F7D784F4-EDA8-4F5D-B495-BA84C2DAABD3}" dt="2020-09-30T11:09:45.620" v="64" actId="1076"/>
          <ac:spMkLst>
            <pc:docMk/>
            <pc:sldMk cId="2297110349" sldId="2076137879"/>
            <ac:spMk id="48" creationId="{EA87BB31-73B0-4A4A-9EC1-C6107D18A895}"/>
          </ac:spMkLst>
        </pc:spChg>
        <pc:spChg chg="mod">
          <ac:chgData name="Manuela Pichler" userId="07a841c1-49c8-4352-a8c3-3a0d96cf9a08" providerId="ADAL" clId="{F7D784F4-EDA8-4F5D-B495-BA84C2DAABD3}" dt="2020-09-30T11:09:45.620" v="64" actId="1076"/>
          <ac:spMkLst>
            <pc:docMk/>
            <pc:sldMk cId="2297110349" sldId="2076137879"/>
            <ac:spMk id="49" creationId="{B2F920C3-B986-4F0C-9A30-D1D58A804FF3}"/>
          </ac:spMkLst>
        </pc:spChg>
        <pc:spChg chg="mod">
          <ac:chgData name="Manuela Pichler" userId="07a841c1-49c8-4352-a8c3-3a0d96cf9a08" providerId="ADAL" clId="{F7D784F4-EDA8-4F5D-B495-BA84C2DAABD3}" dt="2020-09-30T11:09:45.620" v="64" actId="1076"/>
          <ac:spMkLst>
            <pc:docMk/>
            <pc:sldMk cId="2297110349" sldId="2076137879"/>
            <ac:spMk id="55" creationId="{6DE51A15-2F58-44A9-ABD4-8E1F4FE7C2F1}"/>
          </ac:spMkLst>
        </pc:spChg>
        <pc:spChg chg="mod">
          <ac:chgData name="Manuela Pichler" userId="07a841c1-49c8-4352-a8c3-3a0d96cf9a08" providerId="ADAL" clId="{F7D784F4-EDA8-4F5D-B495-BA84C2DAABD3}" dt="2020-09-30T11:09:45.620" v="64" actId="1076"/>
          <ac:spMkLst>
            <pc:docMk/>
            <pc:sldMk cId="2297110349" sldId="2076137879"/>
            <ac:spMk id="56" creationId="{B933B970-7972-4D85-95EB-B7945C515472}"/>
          </ac:spMkLst>
        </pc:spChg>
        <pc:spChg chg="mod">
          <ac:chgData name="Manuela Pichler" userId="07a841c1-49c8-4352-a8c3-3a0d96cf9a08" providerId="ADAL" clId="{F7D784F4-EDA8-4F5D-B495-BA84C2DAABD3}" dt="2020-09-30T11:09:45.620" v="64" actId="1076"/>
          <ac:spMkLst>
            <pc:docMk/>
            <pc:sldMk cId="2297110349" sldId="2076137879"/>
            <ac:spMk id="64" creationId="{BE03B1CC-EF87-4A91-A6F7-2F70168FD1CB}"/>
          </ac:spMkLst>
        </pc:spChg>
        <pc:spChg chg="mod">
          <ac:chgData name="Manuela Pichler" userId="07a841c1-49c8-4352-a8c3-3a0d96cf9a08" providerId="ADAL" clId="{F7D784F4-EDA8-4F5D-B495-BA84C2DAABD3}" dt="2020-09-30T11:09:45.620" v="64" actId="1076"/>
          <ac:spMkLst>
            <pc:docMk/>
            <pc:sldMk cId="2297110349" sldId="2076137879"/>
            <ac:spMk id="65" creationId="{5377CC58-BB61-4F3C-96BA-D84A9D362844}"/>
          </ac:spMkLst>
        </pc:spChg>
        <pc:spChg chg="mod">
          <ac:chgData name="Manuela Pichler" userId="07a841c1-49c8-4352-a8c3-3a0d96cf9a08" providerId="ADAL" clId="{F7D784F4-EDA8-4F5D-B495-BA84C2DAABD3}" dt="2020-09-30T11:09:45.620" v="64" actId="1076"/>
          <ac:spMkLst>
            <pc:docMk/>
            <pc:sldMk cId="2297110349" sldId="2076137879"/>
            <ac:spMk id="66" creationId="{101E4E39-7E3C-4AE3-BBAA-BEAFE29C674A}"/>
          </ac:spMkLst>
        </pc:spChg>
        <pc:spChg chg="mod">
          <ac:chgData name="Manuela Pichler" userId="07a841c1-49c8-4352-a8c3-3a0d96cf9a08" providerId="ADAL" clId="{F7D784F4-EDA8-4F5D-B495-BA84C2DAABD3}" dt="2020-09-30T11:09:45.620" v="64" actId="1076"/>
          <ac:spMkLst>
            <pc:docMk/>
            <pc:sldMk cId="2297110349" sldId="2076137879"/>
            <ac:spMk id="67" creationId="{1043F9FA-FA98-449D-80CC-44E6F5BA6B07}"/>
          </ac:spMkLst>
        </pc:spChg>
        <pc:spChg chg="mod">
          <ac:chgData name="Manuela Pichler" userId="07a841c1-49c8-4352-a8c3-3a0d96cf9a08" providerId="ADAL" clId="{F7D784F4-EDA8-4F5D-B495-BA84C2DAABD3}" dt="2020-09-30T11:09:45.620" v="64" actId="1076"/>
          <ac:spMkLst>
            <pc:docMk/>
            <pc:sldMk cId="2297110349" sldId="2076137879"/>
            <ac:spMk id="68" creationId="{C9A467B8-75F1-40B2-8E4F-FF5F7DC83A5E}"/>
          </ac:spMkLst>
        </pc:spChg>
        <pc:spChg chg="mod">
          <ac:chgData name="Manuela Pichler" userId="07a841c1-49c8-4352-a8c3-3a0d96cf9a08" providerId="ADAL" clId="{F7D784F4-EDA8-4F5D-B495-BA84C2DAABD3}" dt="2020-09-30T11:09:45.620" v="64" actId="1076"/>
          <ac:spMkLst>
            <pc:docMk/>
            <pc:sldMk cId="2297110349" sldId="2076137879"/>
            <ac:spMk id="69" creationId="{626D07B9-10EF-480D-8ADA-2BF3454FC0BD}"/>
          </ac:spMkLst>
        </pc:spChg>
        <pc:spChg chg="mod">
          <ac:chgData name="Manuela Pichler" userId="07a841c1-49c8-4352-a8c3-3a0d96cf9a08" providerId="ADAL" clId="{F7D784F4-EDA8-4F5D-B495-BA84C2DAABD3}" dt="2020-09-30T11:09:45.620" v="64" actId="1076"/>
          <ac:spMkLst>
            <pc:docMk/>
            <pc:sldMk cId="2297110349" sldId="2076137879"/>
            <ac:spMk id="70" creationId="{542CE39B-21BA-4058-9960-07EA0E5E296E}"/>
          </ac:spMkLst>
        </pc:spChg>
        <pc:spChg chg="mod">
          <ac:chgData name="Manuela Pichler" userId="07a841c1-49c8-4352-a8c3-3a0d96cf9a08" providerId="ADAL" clId="{F7D784F4-EDA8-4F5D-B495-BA84C2DAABD3}" dt="2020-09-30T11:09:45.620" v="64" actId="1076"/>
          <ac:spMkLst>
            <pc:docMk/>
            <pc:sldMk cId="2297110349" sldId="2076137879"/>
            <ac:spMk id="71" creationId="{609BD114-D742-431F-BEF3-9F0D2DAEB9A1}"/>
          </ac:spMkLst>
        </pc:spChg>
        <pc:spChg chg="mod">
          <ac:chgData name="Manuela Pichler" userId="07a841c1-49c8-4352-a8c3-3a0d96cf9a08" providerId="ADAL" clId="{F7D784F4-EDA8-4F5D-B495-BA84C2DAABD3}" dt="2020-09-30T11:09:45.620" v="64" actId="1076"/>
          <ac:spMkLst>
            <pc:docMk/>
            <pc:sldMk cId="2297110349" sldId="2076137879"/>
            <ac:spMk id="72" creationId="{FC7A8DBA-A83E-49F3-9A8C-5DE653E4D6C9}"/>
          </ac:spMkLst>
        </pc:spChg>
        <pc:spChg chg="mod">
          <ac:chgData name="Manuela Pichler" userId="07a841c1-49c8-4352-a8c3-3a0d96cf9a08" providerId="ADAL" clId="{F7D784F4-EDA8-4F5D-B495-BA84C2DAABD3}" dt="2020-09-30T11:09:45.620" v="64" actId="1076"/>
          <ac:spMkLst>
            <pc:docMk/>
            <pc:sldMk cId="2297110349" sldId="2076137879"/>
            <ac:spMk id="73" creationId="{65FAC956-BF2B-477F-8066-D34A33A49E55}"/>
          </ac:spMkLst>
        </pc:spChg>
        <pc:spChg chg="mod">
          <ac:chgData name="Manuela Pichler" userId="07a841c1-49c8-4352-a8c3-3a0d96cf9a08" providerId="ADAL" clId="{F7D784F4-EDA8-4F5D-B495-BA84C2DAABD3}" dt="2020-09-30T11:09:45.620" v="64" actId="1076"/>
          <ac:spMkLst>
            <pc:docMk/>
            <pc:sldMk cId="2297110349" sldId="2076137879"/>
            <ac:spMk id="74" creationId="{95063C26-E301-40CF-B762-7E73A71036DA}"/>
          </ac:spMkLst>
        </pc:spChg>
        <pc:spChg chg="mod">
          <ac:chgData name="Manuela Pichler" userId="07a841c1-49c8-4352-a8c3-3a0d96cf9a08" providerId="ADAL" clId="{F7D784F4-EDA8-4F5D-B495-BA84C2DAABD3}" dt="2020-09-30T11:09:45.620" v="64" actId="1076"/>
          <ac:spMkLst>
            <pc:docMk/>
            <pc:sldMk cId="2297110349" sldId="2076137879"/>
            <ac:spMk id="75" creationId="{6730ED2A-FD12-4BC3-A548-F1F241AE03A5}"/>
          </ac:spMkLst>
        </pc:spChg>
        <pc:spChg chg="mod">
          <ac:chgData name="Manuela Pichler" userId="07a841c1-49c8-4352-a8c3-3a0d96cf9a08" providerId="ADAL" clId="{F7D784F4-EDA8-4F5D-B495-BA84C2DAABD3}" dt="2020-09-30T11:09:45.620" v="64" actId="1076"/>
          <ac:spMkLst>
            <pc:docMk/>
            <pc:sldMk cId="2297110349" sldId="2076137879"/>
            <ac:spMk id="76" creationId="{0019DA94-7D06-48B6-872C-A1889728AF26}"/>
          </ac:spMkLst>
        </pc:spChg>
        <pc:spChg chg="mod">
          <ac:chgData name="Manuela Pichler" userId="07a841c1-49c8-4352-a8c3-3a0d96cf9a08" providerId="ADAL" clId="{F7D784F4-EDA8-4F5D-B495-BA84C2DAABD3}" dt="2020-09-30T11:09:45.620" v="64" actId="1076"/>
          <ac:spMkLst>
            <pc:docMk/>
            <pc:sldMk cId="2297110349" sldId="2076137879"/>
            <ac:spMk id="78" creationId="{C3C5CEB5-F47D-4AD3-85E3-200BBC82888D}"/>
          </ac:spMkLst>
        </pc:spChg>
        <pc:spChg chg="mod">
          <ac:chgData name="Manuela Pichler" userId="07a841c1-49c8-4352-a8c3-3a0d96cf9a08" providerId="ADAL" clId="{F7D784F4-EDA8-4F5D-B495-BA84C2DAABD3}" dt="2020-09-30T11:09:45.620" v="64" actId="1076"/>
          <ac:spMkLst>
            <pc:docMk/>
            <pc:sldMk cId="2297110349" sldId="2076137879"/>
            <ac:spMk id="79" creationId="{37AF9E03-E059-4392-B711-C89B70280F59}"/>
          </ac:spMkLst>
        </pc:spChg>
        <pc:spChg chg="mod">
          <ac:chgData name="Manuela Pichler" userId="07a841c1-49c8-4352-a8c3-3a0d96cf9a08" providerId="ADAL" clId="{F7D784F4-EDA8-4F5D-B495-BA84C2DAABD3}" dt="2020-09-30T11:09:45.620" v="64" actId="1076"/>
          <ac:spMkLst>
            <pc:docMk/>
            <pc:sldMk cId="2297110349" sldId="2076137879"/>
            <ac:spMk id="80" creationId="{3BDA45A1-90DA-44AC-B8F9-14D391C37BDA}"/>
          </ac:spMkLst>
        </pc:spChg>
        <pc:spChg chg="mod">
          <ac:chgData name="Manuela Pichler" userId="07a841c1-49c8-4352-a8c3-3a0d96cf9a08" providerId="ADAL" clId="{F7D784F4-EDA8-4F5D-B495-BA84C2DAABD3}" dt="2020-09-30T11:09:45.620" v="64" actId="1076"/>
          <ac:spMkLst>
            <pc:docMk/>
            <pc:sldMk cId="2297110349" sldId="2076137879"/>
            <ac:spMk id="81" creationId="{C5768F09-E22D-44BE-86E8-1B1338221428}"/>
          </ac:spMkLst>
        </pc:spChg>
        <pc:spChg chg="mod">
          <ac:chgData name="Manuela Pichler" userId="07a841c1-49c8-4352-a8c3-3a0d96cf9a08" providerId="ADAL" clId="{F7D784F4-EDA8-4F5D-B495-BA84C2DAABD3}" dt="2020-09-30T11:09:45.620" v="64" actId="1076"/>
          <ac:spMkLst>
            <pc:docMk/>
            <pc:sldMk cId="2297110349" sldId="2076137879"/>
            <ac:spMk id="82" creationId="{F9660D7B-B926-415D-8646-F4CB14BD97E8}"/>
          </ac:spMkLst>
        </pc:spChg>
        <pc:spChg chg="mod">
          <ac:chgData name="Manuela Pichler" userId="07a841c1-49c8-4352-a8c3-3a0d96cf9a08" providerId="ADAL" clId="{F7D784F4-EDA8-4F5D-B495-BA84C2DAABD3}" dt="2020-09-30T11:09:45.620" v="64" actId="1076"/>
          <ac:spMkLst>
            <pc:docMk/>
            <pc:sldMk cId="2297110349" sldId="2076137879"/>
            <ac:spMk id="84" creationId="{CA50C600-B1E2-4298-BC2B-915ECD37BE0F}"/>
          </ac:spMkLst>
        </pc:spChg>
        <pc:spChg chg="add del mod">
          <ac:chgData name="Manuela Pichler" userId="07a841c1-49c8-4352-a8c3-3a0d96cf9a08" providerId="ADAL" clId="{F7D784F4-EDA8-4F5D-B495-BA84C2DAABD3}" dt="2020-09-30T11:10:39.450" v="70" actId="478"/>
          <ac:spMkLst>
            <pc:docMk/>
            <pc:sldMk cId="2297110349" sldId="2076137879"/>
            <ac:spMk id="95" creationId="{F0A3418C-B7FB-466D-AEEE-511F0C95ECC9}"/>
          </ac:spMkLst>
        </pc:spChg>
        <pc:spChg chg="add del mod">
          <ac:chgData name="Manuela Pichler" userId="07a841c1-49c8-4352-a8c3-3a0d96cf9a08" providerId="ADAL" clId="{F7D784F4-EDA8-4F5D-B495-BA84C2DAABD3}" dt="2020-09-30T11:10:39.450" v="70" actId="478"/>
          <ac:spMkLst>
            <pc:docMk/>
            <pc:sldMk cId="2297110349" sldId="2076137879"/>
            <ac:spMk id="97" creationId="{C2140B0A-9369-4592-A79D-78808718E14F}"/>
          </ac:spMkLst>
        </pc:spChg>
        <pc:spChg chg="add del mod">
          <ac:chgData name="Manuela Pichler" userId="07a841c1-49c8-4352-a8c3-3a0d96cf9a08" providerId="ADAL" clId="{F7D784F4-EDA8-4F5D-B495-BA84C2DAABD3}" dt="2020-09-30T11:10:39.450" v="70" actId="478"/>
          <ac:spMkLst>
            <pc:docMk/>
            <pc:sldMk cId="2297110349" sldId="2076137879"/>
            <ac:spMk id="99" creationId="{7F3C8DE6-882E-426F-BE35-239DCBD23933}"/>
          </ac:spMkLst>
        </pc:spChg>
        <pc:grpChg chg="add del mod">
          <ac:chgData name="Manuela Pichler" userId="07a841c1-49c8-4352-a8c3-3a0d96cf9a08" providerId="ADAL" clId="{F7D784F4-EDA8-4F5D-B495-BA84C2DAABD3}" dt="2020-09-30T11:09:49.994" v="65" actId="478"/>
          <ac:grpSpMkLst>
            <pc:docMk/>
            <pc:sldMk cId="2297110349" sldId="2076137879"/>
            <ac:grpSpMk id="12" creationId="{121B83F4-A6F2-4F3E-AF90-4A98535BC1F2}"/>
          </ac:grpSpMkLst>
        </pc:grpChg>
        <pc:grpChg chg="mod">
          <ac:chgData name="Manuela Pichler" userId="07a841c1-49c8-4352-a8c3-3a0d96cf9a08" providerId="ADAL" clId="{F7D784F4-EDA8-4F5D-B495-BA84C2DAABD3}" dt="2020-09-30T11:09:45.620" v="64" actId="1076"/>
          <ac:grpSpMkLst>
            <pc:docMk/>
            <pc:sldMk cId="2297110349" sldId="2076137879"/>
            <ac:grpSpMk id="41" creationId="{06A9F051-BD7E-41CE-8D38-DB61C2FFC269}"/>
          </ac:grpSpMkLst>
        </pc:grpChg>
        <pc:grpChg chg="mod">
          <ac:chgData name="Manuela Pichler" userId="07a841c1-49c8-4352-a8c3-3a0d96cf9a08" providerId="ADAL" clId="{F7D784F4-EDA8-4F5D-B495-BA84C2DAABD3}" dt="2020-09-30T11:09:45.620" v="64" actId="1076"/>
          <ac:grpSpMkLst>
            <pc:docMk/>
            <pc:sldMk cId="2297110349" sldId="2076137879"/>
            <ac:grpSpMk id="44" creationId="{BF99E110-ADF5-49A0-A42E-1C7BB9946407}"/>
          </ac:grpSpMkLst>
        </pc:grpChg>
        <pc:grpChg chg="mod">
          <ac:chgData name="Manuela Pichler" userId="07a841c1-49c8-4352-a8c3-3a0d96cf9a08" providerId="ADAL" clId="{F7D784F4-EDA8-4F5D-B495-BA84C2DAABD3}" dt="2020-09-30T11:09:45.620" v="64" actId="1076"/>
          <ac:grpSpMkLst>
            <pc:docMk/>
            <pc:sldMk cId="2297110349" sldId="2076137879"/>
            <ac:grpSpMk id="45" creationId="{848F0754-F96D-4AE5-9229-31EF6525EAA5}"/>
          </ac:grpSpMkLst>
        </pc:grpChg>
        <pc:grpChg chg="mod">
          <ac:chgData name="Manuela Pichler" userId="07a841c1-49c8-4352-a8c3-3a0d96cf9a08" providerId="ADAL" clId="{F7D784F4-EDA8-4F5D-B495-BA84C2DAABD3}" dt="2020-09-30T11:09:45.620" v="64" actId="1076"/>
          <ac:grpSpMkLst>
            <pc:docMk/>
            <pc:sldMk cId="2297110349" sldId="2076137879"/>
            <ac:grpSpMk id="50" creationId="{C9DE2A26-8993-4BA7-8541-73E943AD8351}"/>
          </ac:grpSpMkLst>
        </pc:grpChg>
        <pc:grpChg chg="mod">
          <ac:chgData name="Manuela Pichler" userId="07a841c1-49c8-4352-a8c3-3a0d96cf9a08" providerId="ADAL" clId="{F7D784F4-EDA8-4F5D-B495-BA84C2DAABD3}" dt="2020-09-30T11:09:45.620" v="64" actId="1076"/>
          <ac:grpSpMkLst>
            <pc:docMk/>
            <pc:sldMk cId="2297110349" sldId="2076137879"/>
            <ac:grpSpMk id="51" creationId="{349C19B0-367F-495C-8448-7FB98CBEA7EF}"/>
          </ac:grpSpMkLst>
        </pc:grpChg>
        <pc:grpChg chg="mod">
          <ac:chgData name="Manuela Pichler" userId="07a841c1-49c8-4352-a8c3-3a0d96cf9a08" providerId="ADAL" clId="{F7D784F4-EDA8-4F5D-B495-BA84C2DAABD3}" dt="2020-09-30T11:09:45.620" v="64" actId="1076"/>
          <ac:grpSpMkLst>
            <pc:docMk/>
            <pc:sldMk cId="2297110349" sldId="2076137879"/>
            <ac:grpSpMk id="52" creationId="{A172E15B-3504-4E43-9AC0-BE1C7E534AE2}"/>
          </ac:grpSpMkLst>
        </pc:grpChg>
        <pc:grpChg chg="mod">
          <ac:chgData name="Manuela Pichler" userId="07a841c1-49c8-4352-a8c3-3a0d96cf9a08" providerId="ADAL" clId="{F7D784F4-EDA8-4F5D-B495-BA84C2DAABD3}" dt="2020-09-30T11:09:45.620" v="64" actId="1076"/>
          <ac:grpSpMkLst>
            <pc:docMk/>
            <pc:sldMk cId="2297110349" sldId="2076137879"/>
            <ac:grpSpMk id="53" creationId="{E44F89FC-9507-4BE8-931C-7BB8707BA30D}"/>
          </ac:grpSpMkLst>
        </pc:grpChg>
        <pc:grpChg chg="mod">
          <ac:chgData name="Manuela Pichler" userId="07a841c1-49c8-4352-a8c3-3a0d96cf9a08" providerId="ADAL" clId="{F7D784F4-EDA8-4F5D-B495-BA84C2DAABD3}" dt="2020-09-30T11:09:45.620" v="64" actId="1076"/>
          <ac:grpSpMkLst>
            <pc:docMk/>
            <pc:sldMk cId="2297110349" sldId="2076137879"/>
            <ac:grpSpMk id="54" creationId="{1DC3A2E4-83D8-42AD-964A-B6DD6211A8D2}"/>
          </ac:grpSpMkLst>
        </pc:grpChg>
        <pc:grpChg chg="mod">
          <ac:chgData name="Manuela Pichler" userId="07a841c1-49c8-4352-a8c3-3a0d96cf9a08" providerId="ADAL" clId="{F7D784F4-EDA8-4F5D-B495-BA84C2DAABD3}" dt="2020-09-30T11:09:45.620" v="64" actId="1076"/>
          <ac:grpSpMkLst>
            <pc:docMk/>
            <pc:sldMk cId="2297110349" sldId="2076137879"/>
            <ac:grpSpMk id="57" creationId="{290CF8C4-41EC-4A59-9272-DF110B989037}"/>
          </ac:grpSpMkLst>
        </pc:grpChg>
        <pc:picChg chg="add del mod">
          <ac:chgData name="Manuela Pichler" userId="07a841c1-49c8-4352-a8c3-3a0d96cf9a08" providerId="ADAL" clId="{F7D784F4-EDA8-4F5D-B495-BA84C2DAABD3}" dt="2020-09-30T11:10:39.450" v="70" actId="478"/>
          <ac:picMkLst>
            <pc:docMk/>
            <pc:sldMk cId="2297110349" sldId="2076137879"/>
            <ac:picMk id="7" creationId="{1B7D6308-0B74-4DFC-8CAA-50302A150BA3}"/>
          </ac:picMkLst>
        </pc:picChg>
        <pc:picChg chg="add del mod">
          <ac:chgData name="Manuela Pichler" userId="07a841c1-49c8-4352-a8c3-3a0d96cf9a08" providerId="ADAL" clId="{F7D784F4-EDA8-4F5D-B495-BA84C2DAABD3}" dt="2020-09-30T11:10:39.450" v="70" actId="478"/>
          <ac:picMkLst>
            <pc:docMk/>
            <pc:sldMk cId="2297110349" sldId="2076137879"/>
            <ac:picMk id="8" creationId="{524C7E93-C05C-4644-80F4-800E8B9B7B6E}"/>
          </ac:picMkLst>
        </pc:picChg>
        <pc:picChg chg="add del mod">
          <ac:chgData name="Manuela Pichler" userId="07a841c1-49c8-4352-a8c3-3a0d96cf9a08" providerId="ADAL" clId="{F7D784F4-EDA8-4F5D-B495-BA84C2DAABD3}" dt="2020-09-30T11:10:39.450" v="70" actId="478"/>
          <ac:picMkLst>
            <pc:docMk/>
            <pc:sldMk cId="2297110349" sldId="2076137879"/>
            <ac:picMk id="9" creationId="{9B70E26D-F315-4124-9024-AC6C365B5878}"/>
          </ac:picMkLst>
        </pc:picChg>
        <pc:picChg chg="mod">
          <ac:chgData name="Manuela Pichler" userId="07a841c1-49c8-4352-a8c3-3a0d96cf9a08" providerId="ADAL" clId="{F7D784F4-EDA8-4F5D-B495-BA84C2DAABD3}" dt="2020-09-30T11:09:54.902" v="66" actId="1076"/>
          <ac:picMkLst>
            <pc:docMk/>
            <pc:sldMk cId="2297110349" sldId="2076137879"/>
            <ac:picMk id="19" creationId="{3D66901D-028D-4C8E-8677-779D4DFA8EDA}"/>
          </ac:picMkLst>
        </pc:picChg>
        <pc:picChg chg="mod">
          <ac:chgData name="Manuela Pichler" userId="07a841c1-49c8-4352-a8c3-3a0d96cf9a08" providerId="ADAL" clId="{F7D784F4-EDA8-4F5D-B495-BA84C2DAABD3}" dt="2020-09-30T11:09:45.620" v="64" actId="1076"/>
          <ac:picMkLst>
            <pc:docMk/>
            <pc:sldMk cId="2297110349" sldId="2076137879"/>
            <ac:picMk id="30" creationId="{B8B18742-8914-40AA-B487-93533CEB4297}"/>
          </ac:picMkLst>
        </pc:picChg>
        <pc:picChg chg="mod">
          <ac:chgData name="Manuela Pichler" userId="07a841c1-49c8-4352-a8c3-3a0d96cf9a08" providerId="ADAL" clId="{F7D784F4-EDA8-4F5D-B495-BA84C2DAABD3}" dt="2020-09-30T11:09:45.620" v="64" actId="1076"/>
          <ac:picMkLst>
            <pc:docMk/>
            <pc:sldMk cId="2297110349" sldId="2076137879"/>
            <ac:picMk id="31" creationId="{03A185A9-D833-42FE-8033-A9E6DD82FFF5}"/>
          </ac:picMkLst>
        </pc:picChg>
        <pc:picChg chg="mod">
          <ac:chgData name="Manuela Pichler" userId="07a841c1-49c8-4352-a8c3-3a0d96cf9a08" providerId="ADAL" clId="{F7D784F4-EDA8-4F5D-B495-BA84C2DAABD3}" dt="2020-09-30T11:09:45.620" v="64" actId="1076"/>
          <ac:picMkLst>
            <pc:docMk/>
            <pc:sldMk cId="2297110349" sldId="2076137879"/>
            <ac:picMk id="32" creationId="{611A0382-3AC5-410B-B0CE-1CA072C3099C}"/>
          </ac:picMkLst>
        </pc:picChg>
        <pc:picChg chg="mod">
          <ac:chgData name="Manuela Pichler" userId="07a841c1-49c8-4352-a8c3-3a0d96cf9a08" providerId="ADAL" clId="{F7D784F4-EDA8-4F5D-B495-BA84C2DAABD3}" dt="2020-09-30T11:09:45.620" v="64" actId="1076"/>
          <ac:picMkLst>
            <pc:docMk/>
            <pc:sldMk cId="2297110349" sldId="2076137879"/>
            <ac:picMk id="38" creationId="{59C0D3F0-7ECD-44D1-B598-52AAC0380174}"/>
          </ac:picMkLst>
        </pc:picChg>
        <pc:picChg chg="mod">
          <ac:chgData name="Manuela Pichler" userId="07a841c1-49c8-4352-a8c3-3a0d96cf9a08" providerId="ADAL" clId="{F7D784F4-EDA8-4F5D-B495-BA84C2DAABD3}" dt="2020-09-30T11:09:45.620" v="64" actId="1076"/>
          <ac:picMkLst>
            <pc:docMk/>
            <pc:sldMk cId="2297110349" sldId="2076137879"/>
            <ac:picMk id="77" creationId="{35468F1D-79F6-44DC-93BE-9C5231807C23}"/>
          </ac:picMkLst>
        </pc:picChg>
        <pc:picChg chg="mod">
          <ac:chgData name="Manuela Pichler" userId="07a841c1-49c8-4352-a8c3-3a0d96cf9a08" providerId="ADAL" clId="{F7D784F4-EDA8-4F5D-B495-BA84C2DAABD3}" dt="2020-09-30T11:09:45.620" v="64" actId="1076"/>
          <ac:picMkLst>
            <pc:docMk/>
            <pc:sldMk cId="2297110349" sldId="2076137879"/>
            <ac:picMk id="83" creationId="{4D2B1FBA-DB7D-4002-AE34-69765F18A909}"/>
          </ac:picMkLst>
        </pc:picChg>
        <pc:cxnChg chg="mod">
          <ac:chgData name="Manuela Pichler" userId="07a841c1-49c8-4352-a8c3-3a0d96cf9a08" providerId="ADAL" clId="{F7D784F4-EDA8-4F5D-B495-BA84C2DAABD3}" dt="2020-09-30T11:09:45.620" v="64" actId="1076"/>
          <ac:cxnSpMkLst>
            <pc:docMk/>
            <pc:sldMk cId="2297110349" sldId="2076137879"/>
            <ac:cxnSpMk id="43" creationId="{0A117FE6-7041-4535-AB8F-B511B68F8228}"/>
          </ac:cxnSpMkLst>
        </pc:cxnChg>
        <pc:cxnChg chg="mod">
          <ac:chgData name="Manuela Pichler" userId="07a841c1-49c8-4352-a8c3-3a0d96cf9a08" providerId="ADAL" clId="{F7D784F4-EDA8-4F5D-B495-BA84C2DAABD3}" dt="2020-09-30T11:09:45.620" v="64" actId="1076"/>
          <ac:cxnSpMkLst>
            <pc:docMk/>
            <pc:sldMk cId="2297110349" sldId="2076137879"/>
            <ac:cxnSpMk id="46" creationId="{CAD8FDB6-8407-4E1E-9FE6-B4D78A4BC29B}"/>
          </ac:cxnSpMkLst>
        </pc:cxnChg>
        <pc:cxnChg chg="mod">
          <ac:chgData name="Manuela Pichler" userId="07a841c1-49c8-4352-a8c3-3a0d96cf9a08" providerId="ADAL" clId="{F7D784F4-EDA8-4F5D-B495-BA84C2DAABD3}" dt="2020-09-30T11:09:45.620" v="64" actId="1076"/>
          <ac:cxnSpMkLst>
            <pc:docMk/>
            <pc:sldMk cId="2297110349" sldId="2076137879"/>
            <ac:cxnSpMk id="47" creationId="{7684B796-F779-4215-8D2F-53EFD4794A3E}"/>
          </ac:cxnSpMkLst>
        </pc:cxnChg>
        <pc:cxnChg chg="mod">
          <ac:chgData name="Manuela Pichler" userId="07a841c1-49c8-4352-a8c3-3a0d96cf9a08" providerId="ADAL" clId="{F7D784F4-EDA8-4F5D-B495-BA84C2DAABD3}" dt="2020-09-30T11:09:45.620" v="64" actId="1076"/>
          <ac:cxnSpMkLst>
            <pc:docMk/>
            <pc:sldMk cId="2297110349" sldId="2076137879"/>
            <ac:cxnSpMk id="58" creationId="{09D4F92D-B645-4EC7-B847-2D9190561C4A}"/>
          </ac:cxnSpMkLst>
        </pc:cxnChg>
        <pc:cxnChg chg="mod">
          <ac:chgData name="Manuela Pichler" userId="07a841c1-49c8-4352-a8c3-3a0d96cf9a08" providerId="ADAL" clId="{F7D784F4-EDA8-4F5D-B495-BA84C2DAABD3}" dt="2020-09-30T11:09:45.620" v="64" actId="1076"/>
          <ac:cxnSpMkLst>
            <pc:docMk/>
            <pc:sldMk cId="2297110349" sldId="2076137879"/>
            <ac:cxnSpMk id="59" creationId="{0E7C1042-3767-4DD4-A11D-F65C920170C9}"/>
          </ac:cxnSpMkLst>
        </pc:cxnChg>
        <pc:cxnChg chg="mod">
          <ac:chgData name="Manuela Pichler" userId="07a841c1-49c8-4352-a8c3-3a0d96cf9a08" providerId="ADAL" clId="{F7D784F4-EDA8-4F5D-B495-BA84C2DAABD3}" dt="2020-09-30T11:09:45.620" v="64" actId="1076"/>
          <ac:cxnSpMkLst>
            <pc:docMk/>
            <pc:sldMk cId="2297110349" sldId="2076137879"/>
            <ac:cxnSpMk id="60" creationId="{8E647ECF-95E6-412F-9DDF-0D57F82DED2A}"/>
          </ac:cxnSpMkLst>
        </pc:cxnChg>
        <pc:cxnChg chg="mod">
          <ac:chgData name="Manuela Pichler" userId="07a841c1-49c8-4352-a8c3-3a0d96cf9a08" providerId="ADAL" clId="{F7D784F4-EDA8-4F5D-B495-BA84C2DAABD3}" dt="2020-09-30T11:09:45.620" v="64" actId="1076"/>
          <ac:cxnSpMkLst>
            <pc:docMk/>
            <pc:sldMk cId="2297110349" sldId="2076137879"/>
            <ac:cxnSpMk id="61" creationId="{853D5C4D-4340-4DEE-B4E6-D9F115D276F6}"/>
          </ac:cxnSpMkLst>
        </pc:cxnChg>
        <pc:cxnChg chg="mod">
          <ac:chgData name="Manuela Pichler" userId="07a841c1-49c8-4352-a8c3-3a0d96cf9a08" providerId="ADAL" clId="{F7D784F4-EDA8-4F5D-B495-BA84C2DAABD3}" dt="2020-09-30T11:09:45.620" v="64" actId="1076"/>
          <ac:cxnSpMkLst>
            <pc:docMk/>
            <pc:sldMk cId="2297110349" sldId="2076137879"/>
            <ac:cxnSpMk id="62" creationId="{4198F3D1-3C75-4363-9F42-5EBB4ADBF8E5}"/>
          </ac:cxnSpMkLst>
        </pc:cxnChg>
        <pc:cxnChg chg="mod">
          <ac:chgData name="Manuela Pichler" userId="07a841c1-49c8-4352-a8c3-3a0d96cf9a08" providerId="ADAL" clId="{F7D784F4-EDA8-4F5D-B495-BA84C2DAABD3}" dt="2020-09-30T11:09:45.620" v="64" actId="1076"/>
          <ac:cxnSpMkLst>
            <pc:docMk/>
            <pc:sldMk cId="2297110349" sldId="2076137879"/>
            <ac:cxnSpMk id="63" creationId="{EE7CE693-2002-4829-8097-B8461341AB9C}"/>
          </ac:cxnSpMkLst>
        </pc:cxnChg>
      </pc:sldChg>
      <pc:sldChg chg="delSp mod">
        <pc:chgData name="Manuela Pichler" userId="07a841c1-49c8-4352-a8c3-3a0d96cf9a08" providerId="ADAL" clId="{F7D784F4-EDA8-4F5D-B495-BA84C2DAABD3}" dt="2020-09-30T12:51:49.437" v="426" actId="478"/>
        <pc:sldMkLst>
          <pc:docMk/>
          <pc:sldMk cId="4150057531" sldId="2076137882"/>
        </pc:sldMkLst>
        <pc:spChg chg="del">
          <ac:chgData name="Manuela Pichler" userId="07a841c1-49c8-4352-a8c3-3a0d96cf9a08" providerId="ADAL" clId="{F7D784F4-EDA8-4F5D-B495-BA84C2DAABD3}" dt="2020-09-30T12:51:49.437" v="426" actId="478"/>
          <ac:spMkLst>
            <pc:docMk/>
            <pc:sldMk cId="4150057531" sldId="2076137882"/>
            <ac:spMk id="12" creationId="{ECCB776B-F99F-460B-BDA2-45FF24BB4692}"/>
          </ac:spMkLst>
        </pc:spChg>
      </pc:sldChg>
      <pc:sldChg chg="del">
        <pc:chgData name="Manuela Pichler" userId="07a841c1-49c8-4352-a8c3-3a0d96cf9a08" providerId="ADAL" clId="{F7D784F4-EDA8-4F5D-B495-BA84C2DAABD3}" dt="2020-09-30T11:26:25.121" v="370" actId="47"/>
        <pc:sldMkLst>
          <pc:docMk/>
          <pc:sldMk cId="2544114642" sldId="2076137908"/>
        </pc:sldMkLst>
      </pc:sldChg>
      <pc:sldChg chg="del">
        <pc:chgData name="Manuela Pichler" userId="07a841c1-49c8-4352-a8c3-3a0d96cf9a08" providerId="ADAL" clId="{F7D784F4-EDA8-4F5D-B495-BA84C2DAABD3}" dt="2020-09-30T11:21:25.312" v="282" actId="47"/>
        <pc:sldMkLst>
          <pc:docMk/>
          <pc:sldMk cId="276692401" sldId="2076137924"/>
        </pc:sldMkLst>
      </pc:sldChg>
      <pc:sldChg chg="del">
        <pc:chgData name="Manuela Pichler" userId="07a841c1-49c8-4352-a8c3-3a0d96cf9a08" providerId="ADAL" clId="{F7D784F4-EDA8-4F5D-B495-BA84C2DAABD3}" dt="2020-09-30T12:51:56.825" v="427" actId="47"/>
        <pc:sldMkLst>
          <pc:docMk/>
          <pc:sldMk cId="836384519" sldId="2076137929"/>
        </pc:sldMkLst>
      </pc:sldChg>
      <pc:sldChg chg="modSp add del modNotes">
        <pc:chgData name="Manuela Pichler" userId="07a841c1-49c8-4352-a8c3-3a0d96cf9a08" providerId="ADAL" clId="{F7D784F4-EDA8-4F5D-B495-BA84C2DAABD3}" dt="2020-09-30T16:13:27.800" v="575" actId="2696"/>
        <pc:sldMkLst>
          <pc:docMk/>
          <pc:sldMk cId="3790579323" sldId="2076137994"/>
        </pc:sldMkLst>
        <pc:spChg chg="mod">
          <ac:chgData name="Manuela Pichler" userId="07a841c1-49c8-4352-a8c3-3a0d96cf9a08" providerId="ADAL" clId="{F7D784F4-EDA8-4F5D-B495-BA84C2DAABD3}" dt="2020-09-30T16:12:51.832" v="569"/>
          <ac:spMkLst>
            <pc:docMk/>
            <pc:sldMk cId="3790579323" sldId="2076137994"/>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655899921" sldId="2076137995"/>
        </pc:sldMkLst>
        <pc:spChg chg="mod">
          <ac:chgData name="Manuela Pichler" userId="07a841c1-49c8-4352-a8c3-3a0d96cf9a08" providerId="ADAL" clId="{F7D784F4-EDA8-4F5D-B495-BA84C2DAABD3}" dt="2020-09-30T16:12:51.832" v="569"/>
          <ac:spMkLst>
            <pc:docMk/>
            <pc:sldMk cId="1655899921" sldId="2076137995"/>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924187473" sldId="2076137996"/>
        </pc:sldMkLst>
        <pc:spChg chg="mod">
          <ac:chgData name="Manuela Pichler" userId="07a841c1-49c8-4352-a8c3-3a0d96cf9a08" providerId="ADAL" clId="{F7D784F4-EDA8-4F5D-B495-BA84C2DAABD3}" dt="2020-09-30T16:12:51.832" v="569"/>
          <ac:spMkLst>
            <pc:docMk/>
            <pc:sldMk cId="1924187473" sldId="2076137996"/>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4112154765" sldId="2076137997"/>
        </pc:sldMkLst>
        <pc:spChg chg="mod">
          <ac:chgData name="Manuela Pichler" userId="07a841c1-49c8-4352-a8c3-3a0d96cf9a08" providerId="ADAL" clId="{F7D784F4-EDA8-4F5D-B495-BA84C2DAABD3}" dt="2020-09-30T16:12:51.832" v="569"/>
          <ac:spMkLst>
            <pc:docMk/>
            <pc:sldMk cId="4112154765" sldId="2076137997"/>
            <ac:spMk id="3" creationId="{0E1F14AF-B1BD-4117-9C99-3239E7CEF792}"/>
          </ac:spMkLst>
        </pc:spChg>
      </pc:sldChg>
      <pc:sldChg chg="add del">
        <pc:chgData name="Manuela Pichler" userId="07a841c1-49c8-4352-a8c3-3a0d96cf9a08" providerId="ADAL" clId="{F7D784F4-EDA8-4F5D-B495-BA84C2DAABD3}" dt="2020-09-30T16:13:27.800" v="575" actId="2696"/>
        <pc:sldMkLst>
          <pc:docMk/>
          <pc:sldMk cId="1993637173" sldId="2076138003"/>
        </pc:sldMkLst>
      </pc:sldChg>
      <pc:sldChg chg="add del">
        <pc:chgData name="Manuela Pichler" userId="07a841c1-49c8-4352-a8c3-3a0d96cf9a08" providerId="ADAL" clId="{F7D784F4-EDA8-4F5D-B495-BA84C2DAABD3}" dt="2020-09-30T16:13:27.800" v="575" actId="2696"/>
        <pc:sldMkLst>
          <pc:docMk/>
          <pc:sldMk cId="4162115285" sldId="2076138004"/>
        </pc:sldMkLst>
      </pc:sldChg>
      <pc:sldChg chg="add del">
        <pc:chgData name="Manuela Pichler" userId="07a841c1-49c8-4352-a8c3-3a0d96cf9a08" providerId="ADAL" clId="{F7D784F4-EDA8-4F5D-B495-BA84C2DAABD3}" dt="2020-09-30T16:13:27.800" v="575" actId="2696"/>
        <pc:sldMkLst>
          <pc:docMk/>
          <pc:sldMk cId="1099248819" sldId="2076138027"/>
        </pc:sldMkLst>
      </pc:sldChg>
      <pc:sldChg chg="add">
        <pc:chgData name="Manuela Pichler" userId="07a841c1-49c8-4352-a8c3-3a0d96cf9a08" providerId="ADAL" clId="{F7D784F4-EDA8-4F5D-B495-BA84C2DAABD3}" dt="2020-09-30T11:21:20.248" v="281"/>
        <pc:sldMkLst>
          <pc:docMk/>
          <pc:sldMk cId="2602694018" sldId="2076138627"/>
        </pc:sldMkLst>
      </pc:sldChg>
      <pc:sldChg chg="addSp delSp modSp new mod">
        <pc:chgData name="Manuela Pichler" userId="07a841c1-49c8-4352-a8c3-3a0d96cf9a08" providerId="ADAL" clId="{F7D784F4-EDA8-4F5D-B495-BA84C2DAABD3}" dt="2020-09-30T11:24:14.655" v="297" actId="207"/>
        <pc:sldMkLst>
          <pc:docMk/>
          <pc:sldMk cId="1586028462" sldId="2076138628"/>
        </pc:sldMkLst>
        <pc:spChg chg="del">
          <ac:chgData name="Manuela Pichler" userId="07a841c1-49c8-4352-a8c3-3a0d96cf9a08" providerId="ADAL" clId="{F7D784F4-EDA8-4F5D-B495-BA84C2DAABD3}" dt="2020-09-30T11:24:07.387" v="296" actId="478"/>
          <ac:spMkLst>
            <pc:docMk/>
            <pc:sldMk cId="1586028462" sldId="2076138628"/>
            <ac:spMk id="2" creationId="{131FACC9-A95D-4CD8-BC5F-A6AA1A082A45}"/>
          </ac:spMkLst>
        </pc:spChg>
        <pc:spChg chg="add del mod">
          <ac:chgData name="Manuela Pichler" userId="07a841c1-49c8-4352-a8c3-3a0d96cf9a08" providerId="ADAL" clId="{F7D784F4-EDA8-4F5D-B495-BA84C2DAABD3}" dt="2020-09-30T11:24:03.066" v="294"/>
          <ac:spMkLst>
            <pc:docMk/>
            <pc:sldMk cId="1586028462" sldId="2076138628"/>
            <ac:spMk id="3" creationId="{8C187550-E1C8-4EDF-8176-BFF381A178E5}"/>
          </ac:spMkLst>
        </pc:spChg>
        <pc:spChg chg="add del mod">
          <ac:chgData name="Manuela Pichler" userId="07a841c1-49c8-4352-a8c3-3a0d96cf9a08" providerId="ADAL" clId="{F7D784F4-EDA8-4F5D-B495-BA84C2DAABD3}" dt="2020-09-30T11:24:03.066" v="294"/>
          <ac:spMkLst>
            <pc:docMk/>
            <pc:sldMk cId="1586028462" sldId="2076138628"/>
            <ac:spMk id="4" creationId="{E649789C-49CA-4015-821A-923C58FEDAB7}"/>
          </ac:spMkLst>
        </pc:spChg>
        <pc:spChg chg="add mod">
          <ac:chgData name="Manuela Pichler" userId="07a841c1-49c8-4352-a8c3-3a0d96cf9a08" providerId="ADAL" clId="{F7D784F4-EDA8-4F5D-B495-BA84C2DAABD3}" dt="2020-09-30T11:24:14.655" v="297" actId="207"/>
          <ac:spMkLst>
            <pc:docMk/>
            <pc:sldMk cId="1586028462" sldId="2076138628"/>
            <ac:spMk id="5" creationId="{64FDF255-981C-45D8-A3C9-16A5CF1F933C}"/>
          </ac:spMkLst>
        </pc:spChg>
        <pc:spChg chg="add mod">
          <ac:chgData name="Manuela Pichler" userId="07a841c1-49c8-4352-a8c3-3a0d96cf9a08" providerId="ADAL" clId="{F7D784F4-EDA8-4F5D-B495-BA84C2DAABD3}" dt="2020-09-30T11:24:03.123" v="295"/>
          <ac:spMkLst>
            <pc:docMk/>
            <pc:sldMk cId="1586028462" sldId="2076138628"/>
            <ac:spMk id="6" creationId="{2ADF2C9F-4CF0-44D7-861E-1753ED357ED2}"/>
          </ac:spMkLst>
        </pc:spChg>
      </pc:sldChg>
      <pc:sldChg chg="modSp add mod">
        <pc:chgData name="Manuela Pichler" userId="07a841c1-49c8-4352-a8c3-3a0d96cf9a08" providerId="ADAL" clId="{F7D784F4-EDA8-4F5D-B495-BA84C2DAABD3}" dt="2020-09-30T11:24:29.937" v="317" actId="20577"/>
        <pc:sldMkLst>
          <pc:docMk/>
          <pc:sldMk cId="864881438" sldId="2076138629"/>
        </pc:sldMkLst>
        <pc:spChg chg="mod">
          <ac:chgData name="Manuela Pichler" userId="07a841c1-49c8-4352-a8c3-3a0d96cf9a08" providerId="ADAL" clId="{F7D784F4-EDA8-4F5D-B495-BA84C2DAABD3}" dt="2020-09-30T11:24:29.937" v="317" actId="20577"/>
          <ac:spMkLst>
            <pc:docMk/>
            <pc:sldMk cId="864881438" sldId="2076138629"/>
            <ac:spMk id="5" creationId="{64FDF255-981C-45D8-A3C9-16A5CF1F933C}"/>
          </ac:spMkLst>
        </pc:spChg>
        <pc:spChg chg="mod">
          <ac:chgData name="Manuela Pichler" userId="07a841c1-49c8-4352-a8c3-3a0d96cf9a08" providerId="ADAL" clId="{F7D784F4-EDA8-4F5D-B495-BA84C2DAABD3}" dt="2020-09-30T11:24:26.335" v="299" actId="20577"/>
          <ac:spMkLst>
            <pc:docMk/>
            <pc:sldMk cId="864881438" sldId="2076138629"/>
            <ac:spMk id="6" creationId="{2ADF2C9F-4CF0-44D7-861E-1753ED357ED2}"/>
          </ac:spMkLst>
        </pc:spChg>
      </pc:sldChg>
      <pc:sldChg chg="modSp add mod">
        <pc:chgData name="Manuela Pichler" userId="07a841c1-49c8-4352-a8c3-3a0d96cf9a08" providerId="ADAL" clId="{F7D784F4-EDA8-4F5D-B495-BA84C2DAABD3}" dt="2020-09-30T11:25:09.076" v="331" actId="20577"/>
        <pc:sldMkLst>
          <pc:docMk/>
          <pc:sldMk cId="1690566189" sldId="2076138630"/>
        </pc:sldMkLst>
        <pc:spChg chg="mod">
          <ac:chgData name="Manuela Pichler" userId="07a841c1-49c8-4352-a8c3-3a0d96cf9a08" providerId="ADAL" clId="{F7D784F4-EDA8-4F5D-B495-BA84C2DAABD3}" dt="2020-09-30T11:25:07.088" v="330" actId="20577"/>
          <ac:spMkLst>
            <pc:docMk/>
            <pc:sldMk cId="1690566189" sldId="2076138630"/>
            <ac:spMk id="5" creationId="{64FDF255-981C-45D8-A3C9-16A5CF1F933C}"/>
          </ac:spMkLst>
        </pc:spChg>
        <pc:spChg chg="mod">
          <ac:chgData name="Manuela Pichler" userId="07a841c1-49c8-4352-a8c3-3a0d96cf9a08" providerId="ADAL" clId="{F7D784F4-EDA8-4F5D-B495-BA84C2DAABD3}" dt="2020-09-30T11:25:09.076" v="331" actId="20577"/>
          <ac:spMkLst>
            <pc:docMk/>
            <pc:sldMk cId="1690566189" sldId="2076138630"/>
            <ac:spMk id="6" creationId="{2ADF2C9F-4CF0-44D7-861E-1753ED357ED2}"/>
          </ac:spMkLst>
        </pc:spChg>
      </pc:sldChg>
      <pc:sldChg chg="modSp add mod ord">
        <pc:chgData name="Manuela Pichler" userId="07a841c1-49c8-4352-a8c3-3a0d96cf9a08" providerId="ADAL" clId="{F7D784F4-EDA8-4F5D-B495-BA84C2DAABD3}" dt="2020-09-30T11:25:39.853" v="369" actId="20578"/>
        <pc:sldMkLst>
          <pc:docMk/>
          <pc:sldMk cId="2319822789" sldId="2076138631"/>
        </pc:sldMkLst>
        <pc:spChg chg="mod">
          <ac:chgData name="Manuela Pichler" userId="07a841c1-49c8-4352-a8c3-3a0d96cf9a08" providerId="ADAL" clId="{F7D784F4-EDA8-4F5D-B495-BA84C2DAABD3}" dt="2020-09-30T11:25:35.921" v="368" actId="20577"/>
          <ac:spMkLst>
            <pc:docMk/>
            <pc:sldMk cId="2319822789" sldId="2076138631"/>
            <ac:spMk id="5" creationId="{64FDF255-981C-45D8-A3C9-16A5CF1F933C}"/>
          </ac:spMkLst>
        </pc:spChg>
        <pc:spChg chg="mod">
          <ac:chgData name="Manuela Pichler" userId="07a841c1-49c8-4352-a8c3-3a0d96cf9a08" providerId="ADAL" clId="{F7D784F4-EDA8-4F5D-B495-BA84C2DAABD3}" dt="2020-09-30T11:25:26.854" v="334" actId="20577"/>
          <ac:spMkLst>
            <pc:docMk/>
            <pc:sldMk cId="2319822789" sldId="2076138631"/>
            <ac:spMk id="6" creationId="{2ADF2C9F-4CF0-44D7-861E-1753ED357ED2}"/>
          </ac:spMkLst>
        </pc:spChg>
      </pc:sldChg>
      <pc:sldChg chg="add">
        <pc:chgData name="Manuela Pichler" userId="07a841c1-49c8-4352-a8c3-3a0d96cf9a08" providerId="ADAL" clId="{F7D784F4-EDA8-4F5D-B495-BA84C2DAABD3}" dt="2020-09-30T11:27:05.023" v="372"/>
        <pc:sldMkLst>
          <pc:docMk/>
          <pc:sldMk cId="2414614688" sldId="2076138632"/>
        </pc:sldMkLst>
      </pc:sldChg>
      <pc:sldChg chg="modSp add mod">
        <pc:chgData name="Manuela Pichler" userId="07a841c1-49c8-4352-a8c3-3a0d96cf9a08" providerId="ADAL" clId="{F7D784F4-EDA8-4F5D-B495-BA84C2DAABD3}" dt="2020-09-30T11:27:43.391" v="377"/>
        <pc:sldMkLst>
          <pc:docMk/>
          <pc:sldMk cId="4048121067" sldId="2076138633"/>
        </pc:sldMkLst>
        <pc:spChg chg="mod">
          <ac:chgData name="Manuela Pichler" userId="07a841c1-49c8-4352-a8c3-3a0d96cf9a08" providerId="ADAL" clId="{F7D784F4-EDA8-4F5D-B495-BA84C2DAABD3}" dt="2020-09-30T11:27:43.391" v="377"/>
          <ac:spMkLst>
            <pc:docMk/>
            <pc:sldMk cId="4048121067" sldId="2076138633"/>
            <ac:spMk id="5" creationId="{64FDF255-981C-45D8-A3C9-16A5CF1F933C}"/>
          </ac:spMkLst>
        </pc:spChg>
        <pc:spChg chg="mod">
          <ac:chgData name="Manuela Pichler" userId="07a841c1-49c8-4352-a8c3-3a0d96cf9a08" providerId="ADAL" clId="{F7D784F4-EDA8-4F5D-B495-BA84C2DAABD3}" dt="2020-09-30T11:27:41.558" v="376" actId="20577"/>
          <ac:spMkLst>
            <pc:docMk/>
            <pc:sldMk cId="4048121067" sldId="2076138633"/>
            <ac:spMk id="6" creationId="{2ADF2C9F-4CF0-44D7-861E-1753ED357ED2}"/>
          </ac:spMkLst>
        </pc:spChg>
      </pc:sldChg>
      <pc:sldChg chg="modSp add mod">
        <pc:chgData name="Manuela Pichler" userId="07a841c1-49c8-4352-a8c3-3a0d96cf9a08" providerId="ADAL" clId="{F7D784F4-EDA8-4F5D-B495-BA84C2DAABD3}" dt="2020-09-30T11:27:59.884" v="405" actId="20577"/>
        <pc:sldMkLst>
          <pc:docMk/>
          <pc:sldMk cId="2152317331" sldId="2076138634"/>
        </pc:sldMkLst>
        <pc:spChg chg="mod">
          <ac:chgData name="Manuela Pichler" userId="07a841c1-49c8-4352-a8c3-3a0d96cf9a08" providerId="ADAL" clId="{F7D784F4-EDA8-4F5D-B495-BA84C2DAABD3}" dt="2020-09-30T11:27:59.884" v="405" actId="20577"/>
          <ac:spMkLst>
            <pc:docMk/>
            <pc:sldMk cId="2152317331" sldId="2076138634"/>
            <ac:spMk id="5" creationId="{64FDF255-981C-45D8-A3C9-16A5CF1F933C}"/>
          </ac:spMkLst>
        </pc:spChg>
        <pc:spChg chg="mod">
          <ac:chgData name="Manuela Pichler" userId="07a841c1-49c8-4352-a8c3-3a0d96cf9a08" providerId="ADAL" clId="{F7D784F4-EDA8-4F5D-B495-BA84C2DAABD3}" dt="2020-09-30T11:27:54.226" v="383" actId="20577"/>
          <ac:spMkLst>
            <pc:docMk/>
            <pc:sldMk cId="2152317331" sldId="2076138634"/>
            <ac:spMk id="6" creationId="{2ADF2C9F-4CF0-44D7-861E-1753ED357ED2}"/>
          </ac:spMkLst>
        </pc:spChg>
      </pc:sldChg>
      <pc:sldChg chg="add del">
        <pc:chgData name="Manuela Pichler" userId="07a841c1-49c8-4352-a8c3-3a0d96cf9a08" providerId="ADAL" clId="{F7D784F4-EDA8-4F5D-B495-BA84C2DAABD3}" dt="2020-09-30T11:29:09.366" v="415" actId="22"/>
        <pc:sldMkLst>
          <pc:docMk/>
          <pc:sldMk cId="676789981" sldId="2076138635"/>
        </pc:sldMkLst>
      </pc:sldChg>
      <pc:sldChg chg="add del">
        <pc:chgData name="Manuela Pichler" userId="07a841c1-49c8-4352-a8c3-3a0d96cf9a08" providerId="ADAL" clId="{F7D784F4-EDA8-4F5D-B495-BA84C2DAABD3}" dt="2020-09-30T11:29:01.732" v="411" actId="22"/>
        <pc:sldMkLst>
          <pc:docMk/>
          <pc:sldMk cId="1770497961" sldId="2076138635"/>
        </pc:sldMkLst>
      </pc:sldChg>
      <pc:sldChg chg="modSp add">
        <pc:chgData name="Manuela Pichler" userId="07a841c1-49c8-4352-a8c3-3a0d96cf9a08" providerId="ADAL" clId="{F7D784F4-EDA8-4F5D-B495-BA84C2DAABD3}" dt="2020-09-30T11:29:25.694" v="417" actId="207"/>
        <pc:sldMkLst>
          <pc:docMk/>
          <pc:sldMk cId="2349198799" sldId="2076138635"/>
        </pc:sldMkLst>
        <pc:graphicFrameChg chg="mod">
          <ac:chgData name="Manuela Pichler" userId="07a841c1-49c8-4352-a8c3-3a0d96cf9a08" providerId="ADAL" clId="{F7D784F4-EDA8-4F5D-B495-BA84C2DAABD3}" dt="2020-09-30T11:29:25.694" v="417" actId="207"/>
          <ac:graphicFrameMkLst>
            <pc:docMk/>
            <pc:sldMk cId="2349198799" sldId="2076138635"/>
            <ac:graphicFrameMk id="8" creationId="{BDF76376-96FF-425B-AD02-C9788E410B4C}"/>
          </ac:graphicFrameMkLst>
        </pc:graphicFrameChg>
      </pc:sldChg>
      <pc:sldChg chg="modSp new add del mod modNotesTx">
        <pc:chgData name="Manuela Pichler" userId="07a841c1-49c8-4352-a8c3-3a0d96cf9a08" providerId="ADAL" clId="{F7D784F4-EDA8-4F5D-B495-BA84C2DAABD3}" dt="2020-09-30T12:52:49.479" v="454"/>
        <pc:sldMkLst>
          <pc:docMk/>
          <pc:sldMk cId="949375952" sldId="2076138636"/>
        </pc:sldMkLst>
        <pc:spChg chg="mod">
          <ac:chgData name="Manuela Pichler" userId="07a841c1-49c8-4352-a8c3-3a0d96cf9a08" providerId="ADAL" clId="{F7D784F4-EDA8-4F5D-B495-BA84C2DAABD3}" dt="2020-09-30T12:52:32.471" v="450" actId="20577"/>
          <ac:spMkLst>
            <pc:docMk/>
            <pc:sldMk cId="949375952" sldId="2076138636"/>
            <ac:spMk id="2" creationId="{348AD2B9-CC8C-4940-850B-44B8D1D007D7}"/>
          </ac:spMkLst>
        </pc:spChg>
        <pc:picChg chg="mod">
          <ac:chgData name="Manuela Pichler" userId="07a841c1-49c8-4352-a8c3-3a0d96cf9a08" providerId="ADAL" clId="{F7D784F4-EDA8-4F5D-B495-BA84C2DAABD3}" dt="2020-09-30T12:52:28.569" v="432" actId="1076"/>
          <ac:picMkLst>
            <pc:docMk/>
            <pc:sldMk cId="949375952" sldId="2076138636"/>
            <ac:picMk id="1026" creationId="{3605AFB9-93F5-4891-B407-AD85101120E7}"/>
          </ac:picMkLst>
        </pc:picChg>
      </pc:sldChg>
      <pc:sldChg chg="addSp">
        <pc:chgData name="Manuela Pichler" userId="07a841c1-49c8-4352-a8c3-3a0d96cf9a08" providerId="ADAL" clId="{F7D784F4-EDA8-4F5D-B495-BA84C2DAABD3}" dt="2020-09-30T12:52:27.481" v="430"/>
        <pc:sldMkLst>
          <pc:docMk/>
          <pc:sldMk cId="2147514160" sldId="2076138636"/>
        </pc:sldMkLst>
        <pc:picChg chg="add">
          <ac:chgData name="Manuela Pichler" userId="07a841c1-49c8-4352-a8c3-3a0d96cf9a08" providerId="ADAL" clId="{F7D784F4-EDA8-4F5D-B495-BA84C2DAABD3}" dt="2020-09-30T12:52:27.481" v="430"/>
          <ac:picMkLst>
            <pc:docMk/>
            <pc:sldMk cId="2147514160" sldId="2076138636"/>
            <ac:picMk id="1026" creationId="{3605AFB9-93F5-4891-B407-AD85101120E7}"/>
          </ac:picMkLst>
        </pc:picChg>
      </pc:sldChg>
      <pc:sldMasterChg chg="delSldLayout">
        <pc:chgData name="Manuela Pichler" userId="07a841c1-49c8-4352-a8c3-3a0d96cf9a08" providerId="ADAL" clId="{F7D784F4-EDA8-4F5D-B495-BA84C2DAABD3}" dt="2020-09-30T11:27:48.770" v="379" actId="47"/>
        <pc:sldMasterMkLst>
          <pc:docMk/>
          <pc:sldMasterMk cId="786041708" sldId="2147483889"/>
        </pc:sldMasterMkLst>
        <pc:sldLayoutChg chg="del">
          <pc:chgData name="Manuela Pichler" userId="07a841c1-49c8-4352-a8c3-3a0d96cf9a08" providerId="ADAL" clId="{F7D784F4-EDA8-4F5D-B495-BA84C2DAABD3}" dt="2020-09-30T11:23:05.687" v="287" actId="47"/>
          <pc:sldLayoutMkLst>
            <pc:docMk/>
            <pc:sldMasterMk cId="786041708" sldId="2147483889"/>
            <pc:sldLayoutMk cId="1543683378" sldId="2147484114"/>
          </pc:sldLayoutMkLst>
        </pc:sldLayoutChg>
        <pc:sldLayoutChg chg="del">
          <pc:chgData name="Manuela Pichler" userId="07a841c1-49c8-4352-a8c3-3a0d96cf9a08" providerId="ADAL" clId="{F7D784F4-EDA8-4F5D-B495-BA84C2DAABD3}" dt="2020-09-30T11:24:58.612" v="321" actId="47"/>
          <pc:sldLayoutMkLst>
            <pc:docMk/>
            <pc:sldMasterMk cId="786041708" sldId="2147483889"/>
            <pc:sldLayoutMk cId="4154980472" sldId="2147484115"/>
          </pc:sldLayoutMkLst>
        </pc:sldLayoutChg>
        <pc:sldLayoutChg chg="del">
          <pc:chgData name="Manuela Pichler" userId="07a841c1-49c8-4352-a8c3-3a0d96cf9a08" providerId="ADAL" clId="{F7D784F4-EDA8-4F5D-B495-BA84C2DAABD3}" dt="2020-09-30T11:27:07.075" v="373" actId="47"/>
          <pc:sldLayoutMkLst>
            <pc:docMk/>
            <pc:sldMasterMk cId="786041708" sldId="2147483889"/>
            <pc:sldLayoutMk cId="2428785916" sldId="2147484116"/>
          </pc:sldLayoutMkLst>
        </pc:sldLayoutChg>
        <pc:sldLayoutChg chg="del">
          <pc:chgData name="Manuela Pichler" userId="07a841c1-49c8-4352-a8c3-3a0d96cf9a08" providerId="ADAL" clId="{F7D784F4-EDA8-4F5D-B495-BA84C2DAABD3}" dt="2020-09-30T11:26:25.121" v="370" actId="47"/>
          <pc:sldLayoutMkLst>
            <pc:docMk/>
            <pc:sldMasterMk cId="786041708" sldId="2147483889"/>
            <pc:sldLayoutMk cId="80373287" sldId="2147484125"/>
          </pc:sldLayoutMkLst>
        </pc:sldLayoutChg>
        <pc:sldLayoutChg chg="del">
          <pc:chgData name="Manuela Pichler" userId="07a841c1-49c8-4352-a8c3-3a0d96cf9a08" providerId="ADAL" clId="{F7D784F4-EDA8-4F5D-B495-BA84C2DAABD3}" dt="2020-09-30T11:23:36.630" v="289" actId="47"/>
          <pc:sldLayoutMkLst>
            <pc:docMk/>
            <pc:sldMasterMk cId="786041708" sldId="2147483889"/>
            <pc:sldLayoutMk cId="1717783622" sldId="2147484167"/>
          </pc:sldLayoutMkLst>
        </pc:sldLayoutChg>
        <pc:sldLayoutChg chg="del">
          <pc:chgData name="Manuela Pichler" userId="07a841c1-49c8-4352-a8c3-3a0d96cf9a08" providerId="ADAL" clId="{F7D784F4-EDA8-4F5D-B495-BA84C2DAABD3}" dt="2020-09-30T11:27:48.770" v="379" actId="47"/>
          <pc:sldLayoutMkLst>
            <pc:docMk/>
            <pc:sldMasterMk cId="786041708" sldId="2147483889"/>
            <pc:sldLayoutMk cId="3022645143" sldId="2147484167"/>
          </pc:sldLayoutMkLst>
        </pc:sldLayoutChg>
      </pc:sldMasterChg>
      <pc:sldMasterChg chg="delSldLayout">
        <pc:chgData name="Manuela Pichler" userId="07a841c1-49c8-4352-a8c3-3a0d96cf9a08" providerId="ADAL" clId="{F7D784F4-EDA8-4F5D-B495-BA84C2DAABD3}" dt="2020-09-30T16:13:27.800" v="575" actId="2696"/>
        <pc:sldMasterMkLst>
          <pc:docMk/>
          <pc:sldMasterMk cId="1722381839" sldId="2147484171"/>
        </pc:sldMasterMkLst>
        <pc:sldLayoutChg chg="del">
          <pc:chgData name="Manuela Pichler" userId="07a841c1-49c8-4352-a8c3-3a0d96cf9a08" providerId="ADAL" clId="{F7D784F4-EDA8-4F5D-B495-BA84C2DAABD3}" dt="2020-09-30T16:13:27.800" v="575" actId="2696"/>
          <pc:sldLayoutMkLst>
            <pc:docMk/>
            <pc:sldMasterMk cId="1722381839" sldId="2147484171"/>
            <pc:sldLayoutMk cId="3123445702" sldId="2147484202"/>
          </pc:sldLayoutMkLst>
        </pc:sldLayoutChg>
        <pc:sldLayoutChg chg="del">
          <pc:chgData name="Manuela Pichler" userId="07a841c1-49c8-4352-a8c3-3a0d96cf9a08" providerId="ADAL" clId="{F7D784F4-EDA8-4F5D-B495-BA84C2DAABD3}" dt="2020-09-30T16:13:27.800" v="575" actId="2696"/>
          <pc:sldLayoutMkLst>
            <pc:docMk/>
            <pc:sldMasterMk cId="1722381839" sldId="2147484171"/>
            <pc:sldLayoutMk cId="359226284" sldId="2147484211"/>
          </pc:sldLayoutMkLst>
        </pc:sldLayoutChg>
      </pc:sldMasterChg>
    </pc:docChg>
  </pc:docChgLst>
  <pc:docChgLst>
    <pc:chgData name="Manuela Pichler" userId="07a841c1-49c8-4352-a8c3-3a0d96cf9a08" providerId="ADAL" clId="{0FD3CA1E-688A-4618-9D81-25ED68658266}"/>
    <pc:docChg chg="delSld modSld modSection">
      <pc:chgData name="Manuela Pichler" userId="07a841c1-49c8-4352-a8c3-3a0d96cf9a08" providerId="ADAL" clId="{0FD3CA1E-688A-4618-9D81-25ED68658266}" dt="2020-07-07T10:01:39.243" v="18" actId="47"/>
      <pc:docMkLst>
        <pc:docMk/>
      </pc:docMkLst>
      <pc:sldChg chg="modSp mod">
        <pc:chgData name="Manuela Pichler" userId="07a841c1-49c8-4352-a8c3-3a0d96cf9a08" providerId="ADAL" clId="{0FD3CA1E-688A-4618-9D81-25ED68658266}" dt="2020-07-07T10:00:07.998" v="14" actId="1076"/>
        <pc:sldMkLst>
          <pc:docMk/>
          <pc:sldMk cId="3506995708" sldId="10351"/>
        </pc:sldMkLst>
        <pc:spChg chg="mod">
          <ac:chgData name="Manuela Pichler" userId="07a841c1-49c8-4352-a8c3-3a0d96cf9a08" providerId="ADAL" clId="{0FD3CA1E-688A-4618-9D81-25ED68658266}" dt="2020-07-07T10:00:07.998" v="14" actId="1076"/>
          <ac:spMkLst>
            <pc:docMk/>
            <pc:sldMk cId="3506995708" sldId="10351"/>
            <ac:spMk id="14" creationId="{C37ACA63-8F97-45A8-834B-279DD1A3B298}"/>
          </ac:spMkLst>
        </pc:spChg>
      </pc:sldChg>
      <pc:sldChg chg="modSp mod">
        <pc:chgData name="Manuela Pichler" userId="07a841c1-49c8-4352-a8c3-3a0d96cf9a08" providerId="ADAL" clId="{0FD3CA1E-688A-4618-9D81-25ED68658266}" dt="2020-07-07T10:00:00.585" v="13" actId="404"/>
        <pc:sldMkLst>
          <pc:docMk/>
          <pc:sldMk cId="672698887" sldId="10352"/>
        </pc:sldMkLst>
        <pc:spChg chg="mod">
          <ac:chgData name="Manuela Pichler" userId="07a841c1-49c8-4352-a8c3-3a0d96cf9a08" providerId="ADAL" clId="{0FD3CA1E-688A-4618-9D81-25ED68658266}" dt="2020-07-07T10:00:00.585" v="13" actId="404"/>
          <ac:spMkLst>
            <pc:docMk/>
            <pc:sldMk cId="672698887" sldId="10352"/>
            <ac:spMk id="3" creationId="{A16E07E3-E15A-4D88-8228-933B235901BC}"/>
          </ac:spMkLst>
        </pc:spChg>
      </pc:sldChg>
      <pc:sldChg chg="del">
        <pc:chgData name="Manuela Pichler" userId="07a841c1-49c8-4352-a8c3-3a0d96cf9a08" providerId="ADAL" clId="{0FD3CA1E-688A-4618-9D81-25ED68658266}" dt="2020-07-07T10:01:39.243" v="18" actId="47"/>
        <pc:sldMkLst>
          <pc:docMk/>
          <pc:sldMk cId="3148823493" sldId="10354"/>
        </pc:sldMkLst>
      </pc:sldChg>
      <pc:sldChg chg="del">
        <pc:chgData name="Manuela Pichler" userId="07a841c1-49c8-4352-a8c3-3a0d96cf9a08" providerId="ADAL" clId="{0FD3CA1E-688A-4618-9D81-25ED68658266}" dt="2020-07-07T10:00:42.282" v="15" actId="47"/>
        <pc:sldMkLst>
          <pc:docMk/>
          <pc:sldMk cId="3071676350" sldId="2076136449"/>
        </pc:sldMkLst>
      </pc:sldChg>
      <pc:sldChg chg="del">
        <pc:chgData name="Manuela Pichler" userId="07a841c1-49c8-4352-a8c3-3a0d96cf9a08" providerId="ADAL" clId="{0FD3CA1E-688A-4618-9D81-25ED68658266}" dt="2020-07-07T10:00:42.282" v="15" actId="47"/>
        <pc:sldMkLst>
          <pc:docMk/>
          <pc:sldMk cId="1263312216" sldId="2076136454"/>
        </pc:sldMkLst>
      </pc:sldChg>
      <pc:sldChg chg="del">
        <pc:chgData name="Manuela Pichler" userId="07a841c1-49c8-4352-a8c3-3a0d96cf9a08" providerId="ADAL" clId="{0FD3CA1E-688A-4618-9D81-25ED68658266}" dt="2020-07-07T10:00:42.282" v="15" actId="47"/>
        <pc:sldMkLst>
          <pc:docMk/>
          <pc:sldMk cId="1790459841" sldId="2076136455"/>
        </pc:sldMkLst>
      </pc:sldChg>
      <pc:sldChg chg="del">
        <pc:chgData name="Manuela Pichler" userId="07a841c1-49c8-4352-a8c3-3a0d96cf9a08" providerId="ADAL" clId="{0FD3CA1E-688A-4618-9D81-25ED68658266}" dt="2020-07-07T10:01:33.856" v="17" actId="47"/>
        <pc:sldMkLst>
          <pc:docMk/>
          <pc:sldMk cId="1114168887" sldId="2076136526"/>
        </pc:sldMkLst>
      </pc:sldChg>
      <pc:sldChg chg="del">
        <pc:chgData name="Manuela Pichler" userId="07a841c1-49c8-4352-a8c3-3a0d96cf9a08" providerId="ADAL" clId="{0FD3CA1E-688A-4618-9D81-25ED68658266}" dt="2020-07-07T10:01:10.126" v="16" actId="47"/>
        <pc:sldMkLst>
          <pc:docMk/>
          <pc:sldMk cId="4085786575" sldId="2076137881"/>
        </pc:sldMkLst>
      </pc:sldChg>
      <pc:sldMasterChg chg="delSldLayout">
        <pc:chgData name="Manuela Pichler" userId="07a841c1-49c8-4352-a8c3-3a0d96cf9a08" providerId="ADAL" clId="{0FD3CA1E-688A-4618-9D81-25ED68658266}" dt="2020-07-07T10:01:33.856" v="17" actId="47"/>
        <pc:sldMasterMkLst>
          <pc:docMk/>
          <pc:sldMasterMk cId="786041708" sldId="2147483889"/>
        </pc:sldMasterMkLst>
        <pc:sldLayoutChg chg="del">
          <pc:chgData name="Manuela Pichler" userId="07a841c1-49c8-4352-a8c3-3a0d96cf9a08" providerId="ADAL" clId="{0FD3CA1E-688A-4618-9D81-25ED68658266}" dt="2020-07-07T10:00:42.282" v="15" actId="47"/>
          <pc:sldLayoutMkLst>
            <pc:docMk/>
            <pc:sldMasterMk cId="786041708" sldId="2147483889"/>
            <pc:sldLayoutMk cId="931404997" sldId="2147484117"/>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208292885" sldId="2147484118"/>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1822007342" sldId="2147484119"/>
          </pc:sldLayoutMkLst>
        </pc:sldLayoutChg>
        <pc:sldLayoutChg chg="del">
          <pc:chgData name="Manuela Pichler" userId="07a841c1-49c8-4352-a8c3-3a0d96cf9a08" providerId="ADAL" clId="{0FD3CA1E-688A-4618-9D81-25ED68658266}" dt="2020-07-07T10:01:33.856" v="17" actId="47"/>
          <pc:sldLayoutMkLst>
            <pc:docMk/>
            <pc:sldMasterMk cId="786041708" sldId="2147483889"/>
            <pc:sldLayoutMk cId="2972098125" sldId="2147484120"/>
          </pc:sldLayoutMkLst>
        </pc:sldLayoutChg>
      </pc:sldMasterChg>
    </pc:docChg>
  </pc:docChgLst>
  <pc:docChgLst>
    <pc:chgData name="Manuela Pichler" userId="07a841c1-49c8-4352-a8c3-3a0d96cf9a08" providerId="ADAL" clId="{19C3F344-1872-4107-BB25-B119B206E274}"/>
    <pc:docChg chg="undo custSel addSld delSld modSld sldOrd delSection modSection">
      <pc:chgData name="Manuela Pichler" userId="07a841c1-49c8-4352-a8c3-3a0d96cf9a08" providerId="ADAL" clId="{19C3F344-1872-4107-BB25-B119B206E274}" dt="2019-12-13T10:18:05.482" v="1803" actId="20577"/>
      <pc:docMkLst>
        <pc:docMk/>
      </pc:docMkLst>
      <pc:sldChg chg="add">
        <pc:chgData name="Manuela Pichler" userId="07a841c1-49c8-4352-a8c3-3a0d96cf9a08" providerId="ADAL" clId="{19C3F344-1872-4107-BB25-B119B206E274}" dt="2019-11-26T11:10:32.638" v="17"/>
        <pc:sldMkLst>
          <pc:docMk/>
          <pc:sldMk cId="2920650541" sldId="336"/>
        </pc:sldMkLst>
      </pc:sldChg>
      <pc:sldChg chg="modSp">
        <pc:chgData name="Manuela Pichler" userId="07a841c1-49c8-4352-a8c3-3a0d96cf9a08" providerId="ADAL" clId="{19C3F344-1872-4107-BB25-B119B206E274}" dt="2019-11-26T11:10:08.032" v="15" actId="1076"/>
        <pc:sldMkLst>
          <pc:docMk/>
          <pc:sldMk cId="2988334431" sldId="1857"/>
        </pc:sldMkLst>
        <pc:spChg chg="mod">
          <ac:chgData name="Manuela Pichler" userId="07a841c1-49c8-4352-a8c3-3a0d96cf9a08" providerId="ADAL" clId="{19C3F344-1872-4107-BB25-B119B206E274}" dt="2019-11-26T11:10:08.032" v="15" actId="1076"/>
          <ac:spMkLst>
            <pc:docMk/>
            <pc:sldMk cId="2988334431" sldId="1857"/>
            <ac:spMk id="4" creationId="{23496577-506A-4E64-B5E4-DF84C9556182}"/>
          </ac:spMkLst>
        </pc:spChg>
      </pc:sldChg>
      <pc:sldChg chg="modNotesTx">
        <pc:chgData name="Manuela Pichler" userId="07a841c1-49c8-4352-a8c3-3a0d96cf9a08" providerId="ADAL" clId="{19C3F344-1872-4107-BB25-B119B206E274}" dt="2019-11-26T11:25:00.910" v="168" actId="20577"/>
        <pc:sldMkLst>
          <pc:docMk/>
          <pc:sldMk cId="1096705017" sldId="10341"/>
        </pc:sldMkLst>
      </pc:sldChg>
      <pc:sldChg chg="modSp">
        <pc:chgData name="Manuela Pichler" userId="07a841c1-49c8-4352-a8c3-3a0d96cf9a08" providerId="ADAL" clId="{19C3F344-1872-4107-BB25-B119B206E274}" dt="2019-11-26T11:25:32.446" v="169" actId="20577"/>
        <pc:sldMkLst>
          <pc:docMk/>
          <pc:sldMk cId="4139367970" sldId="10342"/>
        </pc:sldMkLst>
        <pc:spChg chg="mod">
          <ac:chgData name="Manuela Pichler" userId="07a841c1-49c8-4352-a8c3-3a0d96cf9a08" providerId="ADAL" clId="{19C3F344-1872-4107-BB25-B119B206E274}" dt="2019-11-26T11:25:32.446" v="169" actId="20577"/>
          <ac:spMkLst>
            <pc:docMk/>
            <pc:sldMk cId="4139367970" sldId="10342"/>
            <ac:spMk id="3" creationId="{F8EE09FF-EFB1-47DE-B0D9-E6FC94ACEEC6}"/>
          </ac:spMkLst>
        </pc:spChg>
      </pc:sldChg>
      <pc:sldChg chg="modSp mod modTransition modShow">
        <pc:chgData name="Manuela Pichler" userId="07a841c1-49c8-4352-a8c3-3a0d96cf9a08" providerId="ADAL" clId="{19C3F344-1872-4107-BB25-B119B206E274}" dt="2019-12-13T08:31:27.232" v="1736" actId="729"/>
        <pc:sldMkLst>
          <pc:docMk/>
          <pc:sldMk cId="2935142026" sldId="10344"/>
        </pc:sldMkLst>
        <pc:spChg chg="mod">
          <ac:chgData name="Manuela Pichler" userId="07a841c1-49c8-4352-a8c3-3a0d96cf9a08" providerId="ADAL" clId="{19C3F344-1872-4107-BB25-B119B206E274}" dt="2019-11-26T11:25:40.453" v="172" actId="20577"/>
          <ac:spMkLst>
            <pc:docMk/>
            <pc:sldMk cId="2935142026" sldId="10344"/>
            <ac:spMk id="11" creationId="{D068FC64-4389-4E1E-9DF5-F3132EAE582E}"/>
          </ac:spMkLst>
        </pc:spChg>
        <pc:spChg chg="mod">
          <ac:chgData name="Manuela Pichler" userId="07a841c1-49c8-4352-a8c3-3a0d96cf9a08" providerId="ADAL" clId="{19C3F344-1872-4107-BB25-B119B206E274}" dt="2019-11-26T11:25:41.443" v="173" actId="20577"/>
          <ac:spMkLst>
            <pc:docMk/>
            <pc:sldMk cId="2935142026" sldId="10344"/>
            <ac:spMk id="14" creationId="{5D2ABABA-D7B3-4652-B64C-F90980A8850A}"/>
          </ac:spMkLst>
        </pc:spChg>
        <pc:spChg chg="mod">
          <ac:chgData name="Manuela Pichler" userId="07a841c1-49c8-4352-a8c3-3a0d96cf9a08" providerId="ADAL" clId="{19C3F344-1872-4107-BB25-B119B206E274}" dt="2019-11-26T11:25:45.820" v="197" actId="20577"/>
          <ac:spMkLst>
            <pc:docMk/>
            <pc:sldMk cId="2935142026" sldId="10344"/>
            <ac:spMk id="15" creationId="{BD5DBABB-02D4-419E-BC6D-3334257CE5B6}"/>
          </ac:spMkLst>
        </pc:spChg>
      </pc:sldChg>
      <pc:sldChg chg="modSp mod modTransition modShow">
        <pc:chgData name="Manuela Pichler" userId="07a841c1-49c8-4352-a8c3-3a0d96cf9a08" providerId="ADAL" clId="{19C3F344-1872-4107-BB25-B119B206E274}" dt="2019-12-13T08:31:27.232" v="1736" actId="729"/>
        <pc:sldMkLst>
          <pc:docMk/>
          <pc:sldMk cId="3597727913" sldId="10345"/>
        </pc:sldMkLst>
        <pc:spChg chg="mod">
          <ac:chgData name="Manuela Pichler" userId="07a841c1-49c8-4352-a8c3-3a0d96cf9a08" providerId="ADAL" clId="{19C3F344-1872-4107-BB25-B119B206E274}" dt="2019-11-26T11:25:51.316" v="198" actId="20577"/>
          <ac:spMkLst>
            <pc:docMk/>
            <pc:sldMk cId="3597727913" sldId="10345"/>
            <ac:spMk id="11" creationId="{D068FC64-4389-4E1E-9DF5-F3132EAE582E}"/>
          </ac:spMkLst>
        </pc:spChg>
        <pc:spChg chg="mod">
          <ac:chgData name="Manuela Pichler" userId="07a841c1-49c8-4352-a8c3-3a0d96cf9a08" providerId="ADAL" clId="{19C3F344-1872-4107-BB25-B119B206E274}" dt="2019-11-26T11:25:52.645" v="199" actId="20577"/>
          <ac:spMkLst>
            <pc:docMk/>
            <pc:sldMk cId="3597727913" sldId="10345"/>
            <ac:spMk id="14" creationId="{5D2ABABA-D7B3-4652-B64C-F90980A8850A}"/>
          </ac:spMkLst>
        </pc:spChg>
        <pc:spChg chg="mod">
          <ac:chgData name="Manuela Pichler" userId="07a841c1-49c8-4352-a8c3-3a0d96cf9a08" providerId="ADAL" clId="{19C3F344-1872-4107-BB25-B119B206E274}" dt="2019-11-26T11:25:55.114" v="213" actId="20577"/>
          <ac:spMkLst>
            <pc:docMk/>
            <pc:sldMk cId="3597727913" sldId="10345"/>
            <ac:spMk id="15" creationId="{BD5DBABB-02D4-419E-BC6D-3334257CE5B6}"/>
          </ac:spMkLst>
        </pc:spChg>
        <pc:spChg chg="mod">
          <ac:chgData name="Manuela Pichler" userId="07a841c1-49c8-4352-a8c3-3a0d96cf9a08" providerId="ADAL" clId="{19C3F344-1872-4107-BB25-B119B206E274}" dt="2019-11-26T11:34:37.992" v="636" actId="20577"/>
          <ac:spMkLst>
            <pc:docMk/>
            <pc:sldMk cId="3597727913" sldId="10345"/>
            <ac:spMk id="65" creationId="{A8FC3764-70EA-43C7-8D4A-37BEB9030A89}"/>
          </ac:spMkLst>
        </pc:spChg>
        <pc:spChg chg="mod">
          <ac:chgData name="Manuela Pichler" userId="07a841c1-49c8-4352-a8c3-3a0d96cf9a08" providerId="ADAL" clId="{19C3F344-1872-4107-BB25-B119B206E274}" dt="2019-11-26T11:25:56.694" v="214" actId="20577"/>
          <ac:spMkLst>
            <pc:docMk/>
            <pc:sldMk cId="3597727913" sldId="10345"/>
            <ac:spMk id="66" creationId="{FA5DBB56-98C1-42CB-96E1-FA263F78C669}"/>
          </ac:spMkLst>
        </pc:spChg>
        <pc:spChg chg="mod">
          <ac:chgData name="Manuela Pichler" userId="07a841c1-49c8-4352-a8c3-3a0d96cf9a08" providerId="ADAL" clId="{19C3F344-1872-4107-BB25-B119B206E274}" dt="2019-11-26T11:26:01.266" v="239" actId="20577"/>
          <ac:spMkLst>
            <pc:docMk/>
            <pc:sldMk cId="3597727913" sldId="10345"/>
            <ac:spMk id="67" creationId="{8E99D72E-86CE-4DFF-8B6D-D25C752C3256}"/>
          </ac:spMkLst>
        </pc:spChg>
      </pc:sldChg>
      <pc:sldChg chg="modSp mod modTransition modShow">
        <pc:chgData name="Manuela Pichler" userId="07a841c1-49c8-4352-a8c3-3a0d96cf9a08" providerId="ADAL" clId="{19C3F344-1872-4107-BB25-B119B206E274}" dt="2019-12-13T08:31:27.232" v="1736" actId="729"/>
        <pc:sldMkLst>
          <pc:docMk/>
          <pc:sldMk cId="583547971" sldId="10346"/>
        </pc:sldMkLst>
        <pc:spChg chg="mod">
          <ac:chgData name="Manuela Pichler" userId="07a841c1-49c8-4352-a8c3-3a0d96cf9a08" providerId="ADAL" clId="{19C3F344-1872-4107-BB25-B119B206E274}" dt="2019-11-26T11:34:42.343" v="637" actId="20577"/>
          <ac:spMkLst>
            <pc:docMk/>
            <pc:sldMk cId="583547971" sldId="10346"/>
            <ac:spMk id="11" creationId="{D068FC64-4389-4E1E-9DF5-F3132EAE582E}"/>
          </ac:spMkLst>
        </pc:spChg>
        <pc:spChg chg="mod">
          <ac:chgData name="Manuela Pichler" userId="07a841c1-49c8-4352-a8c3-3a0d96cf9a08" providerId="ADAL" clId="{19C3F344-1872-4107-BB25-B119B206E274}" dt="2019-11-26T11:34:48.342" v="640" actId="20577"/>
          <ac:spMkLst>
            <pc:docMk/>
            <pc:sldMk cId="583547971" sldId="10346"/>
            <ac:spMk id="14" creationId="{5D2ABABA-D7B3-4652-B64C-F90980A8850A}"/>
          </ac:spMkLst>
        </pc:spChg>
        <pc:spChg chg="mod">
          <ac:chgData name="Manuela Pichler" userId="07a841c1-49c8-4352-a8c3-3a0d96cf9a08" providerId="ADAL" clId="{19C3F344-1872-4107-BB25-B119B206E274}" dt="2019-11-26T11:34:51.391" v="654" actId="20577"/>
          <ac:spMkLst>
            <pc:docMk/>
            <pc:sldMk cId="583547971" sldId="10346"/>
            <ac:spMk id="15" creationId="{BD5DBABB-02D4-419E-BC6D-3334257CE5B6}"/>
          </ac:spMkLst>
        </pc:spChg>
        <pc:spChg chg="mod">
          <ac:chgData name="Manuela Pichler" userId="07a841c1-49c8-4352-a8c3-3a0d96cf9a08" providerId="ADAL" clId="{19C3F344-1872-4107-BB25-B119B206E274}" dt="2019-11-26T11:26:09.954" v="241" actId="20577"/>
          <ac:spMkLst>
            <pc:docMk/>
            <pc:sldMk cId="583547971" sldId="10346"/>
            <ac:spMk id="45" creationId="{1FCB7136-1EFE-4FB0-8064-34F6D51C8CF1}"/>
          </ac:spMkLst>
        </pc:spChg>
        <pc:spChg chg="mod">
          <ac:chgData name="Manuela Pichler" userId="07a841c1-49c8-4352-a8c3-3a0d96cf9a08" providerId="ADAL" clId="{19C3F344-1872-4107-BB25-B119B206E274}" dt="2019-11-26T11:34:44.150" v="638" actId="20577"/>
          <ac:spMkLst>
            <pc:docMk/>
            <pc:sldMk cId="583547971" sldId="10346"/>
            <ac:spMk id="65" creationId="{A8FC3764-70EA-43C7-8D4A-37BEB9030A89}"/>
          </ac:spMkLst>
        </pc:spChg>
        <pc:spChg chg="mod">
          <ac:chgData name="Manuela Pichler" userId="07a841c1-49c8-4352-a8c3-3a0d96cf9a08" providerId="ADAL" clId="{19C3F344-1872-4107-BB25-B119B206E274}" dt="2019-11-26T11:34:46.990" v="639" actId="20577"/>
          <ac:spMkLst>
            <pc:docMk/>
            <pc:sldMk cId="583547971" sldId="10346"/>
            <ac:spMk id="66" creationId="{FA5DBB56-98C1-42CB-96E1-FA263F78C669}"/>
          </ac:spMkLst>
        </pc:spChg>
        <pc:spChg chg="mod">
          <ac:chgData name="Manuela Pichler" userId="07a841c1-49c8-4352-a8c3-3a0d96cf9a08" providerId="ADAL" clId="{19C3F344-1872-4107-BB25-B119B206E274}" dt="2019-11-26T11:34:56.396" v="674" actId="20577"/>
          <ac:spMkLst>
            <pc:docMk/>
            <pc:sldMk cId="583547971" sldId="10346"/>
            <ac:spMk id="67" creationId="{8E99D72E-86CE-4DFF-8B6D-D25C752C3256}"/>
          </ac:spMkLst>
        </pc:spChg>
      </pc:sldChg>
      <pc:sldChg chg="addSp delSp modSp mod">
        <pc:chgData name="Manuela Pichler" userId="07a841c1-49c8-4352-a8c3-3a0d96cf9a08" providerId="ADAL" clId="{19C3F344-1872-4107-BB25-B119B206E274}" dt="2019-12-13T08:32:02.235" v="1737" actId="478"/>
        <pc:sldMkLst>
          <pc:docMk/>
          <pc:sldMk cId="296837309" sldId="10347"/>
        </pc:sldMkLst>
        <pc:spChg chg="mod">
          <ac:chgData name="Manuela Pichler" userId="07a841c1-49c8-4352-a8c3-3a0d96cf9a08" providerId="ADAL" clId="{19C3F344-1872-4107-BB25-B119B206E274}" dt="2019-11-26T11:23:30.931" v="77" actId="948"/>
          <ac:spMkLst>
            <pc:docMk/>
            <pc:sldMk cId="296837309" sldId="10347"/>
            <ac:spMk id="7" creationId="{8FE85841-28E0-4929-A51B-2D708A8EECD8}"/>
          </ac:spMkLst>
        </pc:spChg>
        <pc:spChg chg="mod">
          <ac:chgData name="Manuela Pichler" userId="07a841c1-49c8-4352-a8c3-3a0d96cf9a08" providerId="ADAL" clId="{19C3F344-1872-4107-BB25-B119B206E274}" dt="2019-12-12T21:17:16.798" v="1728" actId="400"/>
          <ac:spMkLst>
            <pc:docMk/>
            <pc:sldMk cId="296837309" sldId="10347"/>
            <ac:spMk id="8" creationId="{E21DF51B-75AF-48EE-863F-477C2B5E729D}"/>
          </ac:spMkLst>
        </pc:spChg>
        <pc:spChg chg="mod">
          <ac:chgData name="Manuela Pichler" userId="07a841c1-49c8-4352-a8c3-3a0d96cf9a08" providerId="ADAL" clId="{19C3F344-1872-4107-BB25-B119B206E274}" dt="2019-11-26T11:23:53.527" v="107" actId="20577"/>
          <ac:spMkLst>
            <pc:docMk/>
            <pc:sldMk cId="296837309" sldId="10347"/>
            <ac:spMk id="9" creationId="{524F49AD-1566-4483-A690-50F0A91A96BA}"/>
          </ac:spMkLst>
        </pc:spChg>
        <pc:picChg chg="add del mod">
          <ac:chgData name="Manuela Pichler" userId="07a841c1-49c8-4352-a8c3-3a0d96cf9a08" providerId="ADAL" clId="{19C3F344-1872-4107-BB25-B119B206E274}" dt="2019-12-13T08:32:02.235" v="1737" actId="478"/>
          <ac:picMkLst>
            <pc:docMk/>
            <pc:sldMk cId="296837309" sldId="10347"/>
            <ac:picMk id="3" creationId="{B84E1A5C-8D98-4FC3-B146-9BA5CE844B69}"/>
          </ac:picMkLst>
        </pc:picChg>
      </pc:sldChg>
      <pc:sldChg chg="modSp">
        <pc:chgData name="Manuela Pichler" userId="07a841c1-49c8-4352-a8c3-3a0d96cf9a08" providerId="ADAL" clId="{19C3F344-1872-4107-BB25-B119B206E274}" dt="2019-11-26T11:27:13.976" v="327" actId="14100"/>
        <pc:sldMkLst>
          <pc:docMk/>
          <pc:sldMk cId="3506995708" sldId="10351"/>
        </pc:sldMkLst>
        <pc:spChg chg="mod">
          <ac:chgData name="Manuela Pichler" userId="07a841c1-49c8-4352-a8c3-3a0d96cf9a08" providerId="ADAL" clId="{19C3F344-1872-4107-BB25-B119B206E274}" dt="2019-11-26T11:27:13.976" v="327" actId="14100"/>
          <ac:spMkLst>
            <pc:docMk/>
            <pc:sldMk cId="3506995708" sldId="10351"/>
            <ac:spMk id="14" creationId="{C37ACA63-8F97-45A8-834B-279DD1A3B298}"/>
          </ac:spMkLst>
        </pc:spChg>
      </pc:sldChg>
      <pc:sldChg chg="modTransition">
        <pc:chgData name="Manuela Pichler" userId="07a841c1-49c8-4352-a8c3-3a0d96cf9a08" providerId="ADAL" clId="{19C3F344-1872-4107-BB25-B119B206E274}" dt="2019-11-26T11:58:30.294" v="1694"/>
        <pc:sldMkLst>
          <pc:docMk/>
          <pc:sldMk cId="3148823493" sldId="10354"/>
        </pc:sldMkLst>
      </pc:sldChg>
      <pc:sldChg chg="modTransition">
        <pc:chgData name="Manuela Pichler" userId="07a841c1-49c8-4352-a8c3-3a0d96cf9a08" providerId="ADAL" clId="{19C3F344-1872-4107-BB25-B119B206E274}" dt="2019-11-26T11:20:16.062" v="61"/>
        <pc:sldMkLst>
          <pc:docMk/>
          <pc:sldMk cId="1664111615" sldId="10359"/>
        </pc:sldMkLst>
      </pc:sldChg>
      <pc:sldChg chg="modSp">
        <pc:chgData name="Manuela Pichler" userId="07a841c1-49c8-4352-a8c3-3a0d96cf9a08" providerId="ADAL" clId="{19C3F344-1872-4107-BB25-B119B206E274}" dt="2019-11-26T11:28:19.457" v="359" actId="20577"/>
        <pc:sldMkLst>
          <pc:docMk/>
          <pc:sldMk cId="1536371381" sldId="10368"/>
        </pc:sldMkLst>
        <pc:spChg chg="mod">
          <ac:chgData name="Manuela Pichler" userId="07a841c1-49c8-4352-a8c3-3a0d96cf9a08" providerId="ADAL" clId="{19C3F344-1872-4107-BB25-B119B206E274}" dt="2019-11-26T11:28:19.457" v="359" actId="20577"/>
          <ac:spMkLst>
            <pc:docMk/>
            <pc:sldMk cId="1536371381" sldId="10368"/>
            <ac:spMk id="9" creationId="{8D4A9F03-D383-40F1-95A2-827AFD4743E2}"/>
          </ac:spMkLst>
        </pc:spChg>
      </pc:sldChg>
      <pc:sldChg chg="modSp delCm modCm">
        <pc:chgData name="Manuela Pichler" userId="07a841c1-49c8-4352-a8c3-3a0d96cf9a08" providerId="ADAL" clId="{19C3F344-1872-4107-BB25-B119B206E274}" dt="2019-11-26T11:29:23.799" v="506" actId="20577"/>
        <pc:sldMkLst>
          <pc:docMk/>
          <pc:sldMk cId="2567372822" sldId="10370"/>
        </pc:sldMkLst>
        <pc:spChg chg="mod">
          <ac:chgData name="Manuela Pichler" userId="07a841c1-49c8-4352-a8c3-3a0d96cf9a08" providerId="ADAL" clId="{19C3F344-1872-4107-BB25-B119B206E274}" dt="2019-11-26T11:29:23.799" v="506" actId="20577"/>
          <ac:spMkLst>
            <pc:docMk/>
            <pc:sldMk cId="2567372822" sldId="10370"/>
            <ac:spMk id="8" creationId="{C59A5821-0774-4945-8C15-07984AC2DC4F}"/>
          </ac:spMkLst>
        </pc:spChg>
      </pc:sldChg>
      <pc:sldChg chg="modSp modNotesTx">
        <pc:chgData name="Manuela Pichler" userId="07a841c1-49c8-4352-a8c3-3a0d96cf9a08" providerId="ADAL" clId="{19C3F344-1872-4107-BB25-B119B206E274}" dt="2019-11-26T11:29:33.626" v="557" actId="20577"/>
        <pc:sldMkLst>
          <pc:docMk/>
          <pc:sldMk cId="3193056738" sldId="10371"/>
        </pc:sldMkLst>
        <pc:spChg chg="mod">
          <ac:chgData name="Manuela Pichler" userId="07a841c1-49c8-4352-a8c3-3a0d96cf9a08" providerId="ADAL" clId="{19C3F344-1872-4107-BB25-B119B206E274}" dt="2019-11-26T11:29:19.326" v="505" actId="20577"/>
          <ac:spMkLst>
            <pc:docMk/>
            <pc:sldMk cId="3193056738" sldId="10371"/>
            <ac:spMk id="8" creationId="{C59A5821-0774-4945-8C15-07984AC2DC4F}"/>
          </ac:spMkLst>
        </pc:spChg>
      </pc:sldChg>
      <pc:sldChg chg="modTransition">
        <pc:chgData name="Manuela Pichler" userId="07a841c1-49c8-4352-a8c3-3a0d96cf9a08" providerId="ADAL" clId="{19C3F344-1872-4107-BB25-B119B206E274}" dt="2019-11-26T11:58:24.232" v="1693"/>
        <pc:sldMkLst>
          <pc:docMk/>
          <pc:sldMk cId="2417665393" sldId="10375"/>
        </pc:sldMkLst>
      </pc:sldChg>
      <pc:sldChg chg="modSp mod">
        <pc:chgData name="Manuela Pichler" userId="07a841c1-49c8-4352-a8c3-3a0d96cf9a08" providerId="ADAL" clId="{19C3F344-1872-4107-BB25-B119B206E274}" dt="2019-12-13T08:40:17.106" v="1792" actId="20577"/>
        <pc:sldMkLst>
          <pc:docMk/>
          <pc:sldMk cId="1752717387" sldId="10389"/>
        </pc:sldMkLst>
        <pc:spChg chg="mod">
          <ac:chgData name="Manuela Pichler" userId="07a841c1-49c8-4352-a8c3-3a0d96cf9a08" providerId="ADAL" clId="{19C3F344-1872-4107-BB25-B119B206E274}" dt="2019-11-26T11:34:11.539" v="601" actId="20577"/>
          <ac:spMkLst>
            <pc:docMk/>
            <pc:sldMk cId="1752717387" sldId="10389"/>
            <ac:spMk id="2" creationId="{13735104-7621-48E7-B029-AB6C53CB7DF6}"/>
          </ac:spMkLst>
        </pc:spChg>
        <pc:spChg chg="mod">
          <ac:chgData name="Manuela Pichler" userId="07a841c1-49c8-4352-a8c3-3a0d96cf9a08" providerId="ADAL" clId="{19C3F344-1872-4107-BB25-B119B206E274}" dt="2019-12-13T08:40:17.106" v="1792" actId="20577"/>
          <ac:spMkLst>
            <pc:docMk/>
            <pc:sldMk cId="1752717387" sldId="10389"/>
            <ac:spMk id="10" creationId="{46011DF3-AF12-4119-86FD-AD26A944B315}"/>
          </ac:spMkLst>
        </pc:spChg>
        <pc:spChg chg="mod">
          <ac:chgData name="Manuela Pichler" userId="07a841c1-49c8-4352-a8c3-3a0d96cf9a08" providerId="ADAL" clId="{19C3F344-1872-4107-BB25-B119B206E274}" dt="2019-12-12T21:17:09.251" v="1727" actId="20577"/>
          <ac:spMkLst>
            <pc:docMk/>
            <pc:sldMk cId="1752717387" sldId="10389"/>
            <ac:spMk id="11" creationId="{F9250C69-A235-42BC-B1DD-581A3D839278}"/>
          </ac:spMkLst>
        </pc:spChg>
        <pc:spChg chg="mod">
          <ac:chgData name="Manuela Pichler" userId="07a841c1-49c8-4352-a8c3-3a0d96cf9a08" providerId="ADAL" clId="{19C3F344-1872-4107-BB25-B119B206E274}" dt="2019-11-26T11:34:01.381" v="559" actId="20577"/>
          <ac:spMkLst>
            <pc:docMk/>
            <pc:sldMk cId="1752717387" sldId="10389"/>
            <ac:spMk id="30" creationId="{43CB7A17-E75B-4FA2-8C90-793DDBAACC0C}"/>
          </ac:spMkLst>
        </pc:spChg>
        <pc:spChg chg="mod">
          <ac:chgData name="Manuela Pichler" userId="07a841c1-49c8-4352-a8c3-3a0d96cf9a08" providerId="ADAL" clId="{19C3F344-1872-4107-BB25-B119B206E274}" dt="2019-11-26T11:34:06.206" v="573" actId="20577"/>
          <ac:spMkLst>
            <pc:docMk/>
            <pc:sldMk cId="1752717387" sldId="10389"/>
            <ac:spMk id="32" creationId="{674D61C9-6451-4E60-A96E-DE45C2AE26B8}"/>
          </ac:spMkLst>
        </pc:spChg>
      </pc:sldChg>
      <pc:sldChg chg="addSp delSp modSp">
        <pc:chgData name="Manuela Pichler" userId="07a841c1-49c8-4352-a8c3-3a0d96cf9a08" providerId="ADAL" clId="{19C3F344-1872-4107-BB25-B119B206E274}" dt="2019-11-26T11:19:50.011" v="60" actId="1076"/>
        <pc:sldMkLst>
          <pc:docMk/>
          <pc:sldMk cId="2776419609" sldId="11157"/>
        </pc:sldMkLst>
        <pc:spChg chg="mod">
          <ac:chgData name="Manuela Pichler" userId="07a841c1-49c8-4352-a8c3-3a0d96cf9a08" providerId="ADAL" clId="{19C3F344-1872-4107-BB25-B119B206E274}" dt="2019-11-26T11:19:38.889" v="57" actId="1076"/>
          <ac:spMkLst>
            <pc:docMk/>
            <pc:sldMk cId="2776419609" sldId="11157"/>
            <ac:spMk id="3" creationId="{5EB74F2D-6DF1-4FF1-BA17-87827AA2426F}"/>
          </ac:spMkLst>
        </pc:spChg>
        <pc:grpChg chg="del">
          <ac:chgData name="Manuela Pichler" userId="07a841c1-49c8-4352-a8c3-3a0d96cf9a08" providerId="ADAL" clId="{19C3F344-1872-4107-BB25-B119B206E274}" dt="2019-11-26T11:19:41.027" v="58" actId="478"/>
          <ac:grpSpMkLst>
            <pc:docMk/>
            <pc:sldMk cId="2776419609" sldId="11157"/>
            <ac:grpSpMk id="5" creationId="{7260CAE5-3576-4E16-B947-8D217DBB91CF}"/>
          </ac:grpSpMkLst>
        </pc:grpChg>
        <pc:grpChg chg="del">
          <ac:chgData name="Manuela Pichler" userId="07a841c1-49c8-4352-a8c3-3a0d96cf9a08" providerId="ADAL" clId="{19C3F344-1872-4107-BB25-B119B206E274}" dt="2019-11-26T11:19:41.027" v="58" actId="478"/>
          <ac:grpSpMkLst>
            <pc:docMk/>
            <pc:sldMk cId="2776419609" sldId="11157"/>
            <ac:grpSpMk id="11" creationId="{29DC22A9-EF23-46BF-926A-F609E092D00C}"/>
          </ac:grpSpMkLst>
        </pc:grpChg>
        <pc:grpChg chg="add mod">
          <ac:chgData name="Manuela Pichler" userId="07a841c1-49c8-4352-a8c3-3a0d96cf9a08" providerId="ADAL" clId="{19C3F344-1872-4107-BB25-B119B206E274}" dt="2019-11-26T11:19:50.011" v="60" actId="1076"/>
          <ac:grpSpMkLst>
            <pc:docMk/>
            <pc:sldMk cId="2776419609" sldId="11157"/>
            <ac:grpSpMk id="18" creationId="{5294AF91-CF03-4B65-8BDF-5EA1A9843F4C}"/>
          </ac:grpSpMkLst>
        </pc:grpChg>
        <pc:grpChg chg="add mod">
          <ac:chgData name="Manuela Pichler" userId="07a841c1-49c8-4352-a8c3-3a0d96cf9a08" providerId="ADAL" clId="{19C3F344-1872-4107-BB25-B119B206E274}" dt="2019-11-26T11:19:50.011" v="60" actId="1076"/>
          <ac:grpSpMkLst>
            <pc:docMk/>
            <pc:sldMk cId="2776419609" sldId="11157"/>
            <ac:grpSpMk id="25" creationId="{FBA21A0B-DCF5-4140-BE14-372C448EFAD8}"/>
          </ac:grpSpMkLst>
        </pc:grpChg>
        <pc:picChg chg="add mod">
          <ac:chgData name="Manuela Pichler" userId="07a841c1-49c8-4352-a8c3-3a0d96cf9a08" providerId="ADAL" clId="{19C3F344-1872-4107-BB25-B119B206E274}" dt="2019-11-26T11:19:50.011" v="60" actId="1076"/>
          <ac:picMkLst>
            <pc:docMk/>
            <pc:sldMk cId="2776419609" sldId="11157"/>
            <ac:picMk id="29" creationId="{0D604FC3-670B-40F6-BAC1-4F8C8C31ED46}"/>
          </ac:picMkLst>
        </pc:picChg>
        <pc:picChg chg="add mod">
          <ac:chgData name="Manuela Pichler" userId="07a841c1-49c8-4352-a8c3-3a0d96cf9a08" providerId="ADAL" clId="{19C3F344-1872-4107-BB25-B119B206E274}" dt="2019-11-26T11:19:50.011" v="60" actId="1076"/>
          <ac:picMkLst>
            <pc:docMk/>
            <pc:sldMk cId="2776419609" sldId="11157"/>
            <ac:picMk id="30" creationId="{66B55BC8-B791-49B0-849C-E00F4A87839D}"/>
          </ac:picMkLst>
        </pc:picChg>
        <pc:picChg chg="add mod">
          <ac:chgData name="Manuela Pichler" userId="07a841c1-49c8-4352-a8c3-3a0d96cf9a08" providerId="ADAL" clId="{19C3F344-1872-4107-BB25-B119B206E274}" dt="2019-11-26T11:19:50.011" v="60" actId="1076"/>
          <ac:picMkLst>
            <pc:docMk/>
            <pc:sldMk cId="2776419609" sldId="11157"/>
            <ac:picMk id="31" creationId="{2266BB18-EC89-4BAA-BA6E-E274FE9E759E}"/>
          </ac:picMkLst>
        </pc:picChg>
      </pc:sldChg>
      <pc:sldChg chg="addSp delSp modSp">
        <pc:chgData name="Manuela Pichler" userId="07a841c1-49c8-4352-a8c3-3a0d96cf9a08" providerId="ADAL" clId="{19C3F344-1872-4107-BB25-B119B206E274}" dt="2019-11-26T11:28:12.131" v="344" actId="20577"/>
        <pc:sldMkLst>
          <pc:docMk/>
          <pc:sldMk cId="2617827122" sldId="11158"/>
        </pc:sldMkLst>
        <pc:spChg chg="mod">
          <ac:chgData name="Manuela Pichler" userId="07a841c1-49c8-4352-a8c3-3a0d96cf9a08" providerId="ADAL" clId="{19C3F344-1872-4107-BB25-B119B206E274}" dt="2019-11-26T11:28:12.131" v="344" actId="20577"/>
          <ac:spMkLst>
            <pc:docMk/>
            <pc:sldMk cId="2617827122" sldId="11158"/>
            <ac:spMk id="2" creationId="{0E8A3547-1B73-4917-B289-4A37D10FB213}"/>
          </ac:spMkLst>
        </pc:spChg>
        <pc:grpChg chg="del">
          <ac:chgData name="Manuela Pichler" userId="07a841c1-49c8-4352-a8c3-3a0d96cf9a08" providerId="ADAL" clId="{19C3F344-1872-4107-BB25-B119B206E274}" dt="2019-11-26T11:20:52.369" v="64" actId="478"/>
          <ac:grpSpMkLst>
            <pc:docMk/>
            <pc:sldMk cId="2617827122" sldId="11158"/>
            <ac:grpSpMk id="6" creationId="{8F79C3AB-FE7C-4BF5-9E85-890182E626D5}"/>
          </ac:grpSpMkLst>
        </pc:grpChg>
        <pc:grpChg chg="add mod">
          <ac:chgData name="Manuela Pichler" userId="07a841c1-49c8-4352-a8c3-3a0d96cf9a08" providerId="ADAL" clId="{19C3F344-1872-4107-BB25-B119B206E274}" dt="2019-11-26T11:21:19.481" v="72" actId="1076"/>
          <ac:grpSpMkLst>
            <pc:docMk/>
            <pc:sldMk cId="2617827122" sldId="11158"/>
            <ac:grpSpMk id="20" creationId="{BD674F9B-31F2-456E-AFA5-42F7666E2B0F}"/>
          </ac:grpSpMkLst>
        </pc:grpChg>
        <pc:grpChg chg="del">
          <ac:chgData name="Manuela Pichler" userId="07a841c1-49c8-4352-a8c3-3a0d96cf9a08" providerId="ADAL" clId="{19C3F344-1872-4107-BB25-B119B206E274}" dt="2019-11-26T11:21:05.293" v="67" actId="478"/>
          <ac:grpSpMkLst>
            <pc:docMk/>
            <pc:sldMk cId="2617827122" sldId="11158"/>
            <ac:grpSpMk id="22" creationId="{7DB0C91B-BB60-46F5-818D-2CEAC6CF3A8C}"/>
          </ac:grpSpMkLst>
        </pc:grpChg>
        <pc:grpChg chg="add mod">
          <ac:chgData name="Manuela Pichler" userId="07a841c1-49c8-4352-a8c3-3a0d96cf9a08" providerId="ADAL" clId="{19C3F344-1872-4107-BB25-B119B206E274}" dt="2019-11-26T11:21:23.863" v="73" actId="1076"/>
          <ac:grpSpMkLst>
            <pc:docMk/>
            <pc:sldMk cId="2617827122" sldId="11158"/>
            <ac:grpSpMk id="28" creationId="{774245B3-434D-47EA-B56B-7CB374374FD0}"/>
          </ac:grpSpMkLst>
        </pc:grpChg>
        <pc:picChg chg="add mod">
          <ac:chgData name="Manuela Pichler" userId="07a841c1-49c8-4352-a8c3-3a0d96cf9a08" providerId="ADAL" clId="{19C3F344-1872-4107-BB25-B119B206E274}" dt="2019-11-26T11:21:19.481" v="72" actId="1076"/>
          <ac:picMkLst>
            <pc:docMk/>
            <pc:sldMk cId="2617827122" sldId="11158"/>
            <ac:picMk id="26" creationId="{71AF7DD7-1546-4757-AFC4-1A5ADE051679}"/>
          </ac:picMkLst>
        </pc:picChg>
        <pc:picChg chg="add mod">
          <ac:chgData name="Manuela Pichler" userId="07a841c1-49c8-4352-a8c3-3a0d96cf9a08" providerId="ADAL" clId="{19C3F344-1872-4107-BB25-B119B206E274}" dt="2019-11-26T11:21:19.481" v="72" actId="1076"/>
          <ac:picMkLst>
            <pc:docMk/>
            <pc:sldMk cId="2617827122" sldId="11158"/>
            <ac:picMk id="27" creationId="{1C4847BA-B46F-4391-8300-7BD1AACE6903}"/>
          </ac:picMkLst>
        </pc:picChg>
        <pc:picChg chg="add mod">
          <ac:chgData name="Manuela Pichler" userId="07a841c1-49c8-4352-a8c3-3a0d96cf9a08" providerId="ADAL" clId="{19C3F344-1872-4107-BB25-B119B206E274}" dt="2019-11-26T11:21:23.863" v="73" actId="1076"/>
          <ac:picMkLst>
            <pc:docMk/>
            <pc:sldMk cId="2617827122" sldId="11158"/>
            <ac:picMk id="33" creationId="{380BD7B2-BE0F-4B73-B16A-CEF57959A294}"/>
          </ac:picMkLst>
        </pc:picChg>
      </pc:sldChg>
      <pc:sldChg chg="modSp modNotesTx">
        <pc:chgData name="Manuela Pichler" userId="07a841c1-49c8-4352-a8c3-3a0d96cf9a08" providerId="ADAL" clId="{19C3F344-1872-4107-BB25-B119B206E274}" dt="2019-11-26T11:41:26.807" v="920" actId="20577"/>
        <pc:sldMkLst>
          <pc:docMk/>
          <pc:sldMk cId="3988619924" sldId="2076136429"/>
        </pc:sldMkLst>
        <pc:spChg chg="mod">
          <ac:chgData name="Manuela Pichler" userId="07a841c1-49c8-4352-a8c3-3a0d96cf9a08" providerId="ADAL" clId="{19C3F344-1872-4107-BB25-B119B206E274}" dt="2019-11-26T11:27:23.589" v="328" actId="20577"/>
          <ac:spMkLst>
            <pc:docMk/>
            <pc:sldMk cId="3988619924" sldId="2076136429"/>
            <ac:spMk id="160" creationId="{6F3D57DA-9F76-4C59-9262-65927391D962}"/>
          </ac:spMkLst>
        </pc:spChg>
        <pc:spChg chg="mod">
          <ac:chgData name="Manuela Pichler" userId="07a841c1-49c8-4352-a8c3-3a0d96cf9a08" providerId="ADAL" clId="{19C3F344-1872-4107-BB25-B119B206E274}" dt="2019-11-26T11:28:03.744" v="343" actId="20577"/>
          <ac:spMkLst>
            <pc:docMk/>
            <pc:sldMk cId="3988619924" sldId="2076136429"/>
            <ac:spMk id="161" creationId="{71ACD308-987E-4112-BFB6-DCA22EFF9B03}"/>
          </ac:spMkLst>
        </pc:spChg>
      </pc:sldChg>
      <pc:sldChg chg="modNotesTx">
        <pc:chgData name="Manuela Pichler" userId="07a841c1-49c8-4352-a8c3-3a0d96cf9a08" providerId="ADAL" clId="{19C3F344-1872-4107-BB25-B119B206E274}" dt="2019-12-13T08:41:48.443" v="1798" actId="20577"/>
        <pc:sldMkLst>
          <pc:docMk/>
          <pc:sldMk cId="4236643448" sldId="2076136430"/>
        </pc:sldMkLst>
      </pc:sldChg>
      <pc:sldChg chg="modSp">
        <pc:chgData name="Manuela Pichler" userId="07a841c1-49c8-4352-a8c3-3a0d96cf9a08" providerId="ADAL" clId="{19C3F344-1872-4107-BB25-B119B206E274}" dt="2019-11-26T11:13:31.721" v="33" actId="20577"/>
        <pc:sldMkLst>
          <pc:docMk/>
          <pc:sldMk cId="1495987071" sldId="2076136433"/>
        </pc:sldMkLst>
        <pc:spChg chg="mod">
          <ac:chgData name="Manuela Pichler" userId="07a841c1-49c8-4352-a8c3-3a0d96cf9a08" providerId="ADAL" clId="{19C3F344-1872-4107-BB25-B119B206E274}" dt="2019-11-26T11:13:31.721" v="33" actId="20577"/>
          <ac:spMkLst>
            <pc:docMk/>
            <pc:sldMk cId="1495987071" sldId="2076136433"/>
            <ac:spMk id="6" creationId="{28D902C9-8AC9-4CB5-AFE3-3DA9CBD915F5}"/>
          </ac:spMkLst>
        </pc:spChg>
      </pc:sldChg>
      <pc:sldChg chg="addSp delSp modSp">
        <pc:chgData name="Manuela Pichler" userId="07a841c1-49c8-4352-a8c3-3a0d96cf9a08" providerId="ADAL" clId="{19C3F344-1872-4107-BB25-B119B206E274}" dt="2019-11-26T11:19:18.376" v="55" actId="1076"/>
        <pc:sldMkLst>
          <pc:docMk/>
          <pc:sldMk cId="2990651474" sldId="2076136434"/>
        </pc:sldMkLst>
        <pc:picChg chg="del">
          <ac:chgData name="Manuela Pichler" userId="07a841c1-49c8-4352-a8c3-3a0d96cf9a08" providerId="ADAL" clId="{19C3F344-1872-4107-BB25-B119B206E274}" dt="2019-11-26T11:17:24.868" v="40" actId="478"/>
          <ac:picMkLst>
            <pc:docMk/>
            <pc:sldMk cId="2990651474" sldId="2076136434"/>
            <ac:picMk id="13" creationId="{8B388FE6-4099-4C3D-AC28-8F602CB31E86}"/>
          </ac:picMkLst>
        </pc:picChg>
        <pc:picChg chg="del">
          <ac:chgData name="Manuela Pichler" userId="07a841c1-49c8-4352-a8c3-3a0d96cf9a08" providerId="ADAL" clId="{19C3F344-1872-4107-BB25-B119B206E274}" dt="2019-11-26T11:16:58.743" v="34" actId="478"/>
          <ac:picMkLst>
            <pc:docMk/>
            <pc:sldMk cId="2990651474" sldId="2076136434"/>
            <ac:picMk id="14" creationId="{E4666C34-32DF-472A-9C32-A9FBF5C6FAEA}"/>
          </ac:picMkLst>
        </pc:picChg>
        <pc:picChg chg="del">
          <ac:chgData name="Manuela Pichler" userId="07a841c1-49c8-4352-a8c3-3a0d96cf9a08" providerId="ADAL" clId="{19C3F344-1872-4107-BB25-B119B206E274}" dt="2019-11-26T11:16:58.743" v="34" actId="478"/>
          <ac:picMkLst>
            <pc:docMk/>
            <pc:sldMk cId="2990651474" sldId="2076136434"/>
            <ac:picMk id="17" creationId="{4809CBE1-33BA-4BFC-AB77-107C32017DBC}"/>
          </ac:picMkLst>
        </pc:picChg>
        <pc:picChg chg="add del mod">
          <ac:chgData name="Manuela Pichler" userId="07a841c1-49c8-4352-a8c3-3a0d96cf9a08" providerId="ADAL" clId="{19C3F344-1872-4107-BB25-B119B206E274}" dt="2019-11-26T11:19:13.689" v="54" actId="478"/>
          <ac:picMkLst>
            <pc:docMk/>
            <pc:sldMk cId="2990651474" sldId="2076136434"/>
            <ac:picMk id="18" creationId="{B9690F2B-7CEB-4E83-BF48-513629D5530C}"/>
          </ac:picMkLst>
        </pc:picChg>
        <pc:picChg chg="add mod">
          <ac:chgData name="Manuela Pichler" userId="07a841c1-49c8-4352-a8c3-3a0d96cf9a08" providerId="ADAL" clId="{19C3F344-1872-4107-BB25-B119B206E274}" dt="2019-11-26T11:18:04.023" v="45" actId="1076"/>
          <ac:picMkLst>
            <pc:docMk/>
            <pc:sldMk cId="2990651474" sldId="2076136434"/>
            <ac:picMk id="19" creationId="{C1FB8C6C-13A3-4116-9F27-2094A9246F4F}"/>
          </ac:picMkLst>
        </pc:picChg>
        <pc:picChg chg="add mod">
          <ac:chgData name="Manuela Pichler" userId="07a841c1-49c8-4352-a8c3-3a0d96cf9a08" providerId="ADAL" clId="{19C3F344-1872-4107-BB25-B119B206E274}" dt="2019-11-26T11:19:18.376" v="55" actId="1076"/>
          <ac:picMkLst>
            <pc:docMk/>
            <pc:sldMk cId="2990651474" sldId="2076136434"/>
            <ac:picMk id="20" creationId="{92516373-7331-4075-AF9D-849365B3F0B4}"/>
          </ac:picMkLst>
        </pc:picChg>
        <pc:picChg chg="add mod">
          <ac:chgData name="Manuela Pichler" userId="07a841c1-49c8-4352-a8c3-3a0d96cf9a08" providerId="ADAL" clId="{19C3F344-1872-4107-BB25-B119B206E274}" dt="2019-11-26T11:18:51.511" v="53" actId="14100"/>
          <ac:picMkLst>
            <pc:docMk/>
            <pc:sldMk cId="2990651474" sldId="2076136434"/>
            <ac:picMk id="21" creationId="{83091A13-1FCD-41BC-A106-9FE2B83F6754}"/>
          </ac:picMkLst>
        </pc:picChg>
      </pc:sldChg>
      <pc:sldChg chg="modSp">
        <pc:chgData name="Manuela Pichler" userId="07a841c1-49c8-4352-a8c3-3a0d96cf9a08" providerId="ADAL" clId="{19C3F344-1872-4107-BB25-B119B206E274}" dt="2019-11-26T11:26:28.584" v="258" actId="1076"/>
        <pc:sldMkLst>
          <pc:docMk/>
          <pc:sldMk cId="4289524203" sldId="2076136435"/>
        </pc:sldMkLst>
        <pc:spChg chg="mod">
          <ac:chgData name="Manuela Pichler" userId="07a841c1-49c8-4352-a8c3-3a0d96cf9a08" providerId="ADAL" clId="{19C3F344-1872-4107-BB25-B119B206E274}" dt="2019-11-26T11:26:16.911" v="242" actId="20577"/>
          <ac:spMkLst>
            <pc:docMk/>
            <pc:sldMk cId="4289524203" sldId="2076136435"/>
            <ac:spMk id="42" creationId="{B972820B-CA9E-4E16-9589-E0AFF544D66F}"/>
          </ac:spMkLst>
        </pc:spChg>
        <pc:spChg chg="mod">
          <ac:chgData name="Manuela Pichler" userId="07a841c1-49c8-4352-a8c3-3a0d96cf9a08" providerId="ADAL" clId="{19C3F344-1872-4107-BB25-B119B206E274}" dt="2019-11-26T11:26:28.584" v="258" actId="1076"/>
          <ac:spMkLst>
            <pc:docMk/>
            <pc:sldMk cId="4289524203" sldId="2076136435"/>
            <ac:spMk id="43" creationId="{3F5ABCEC-5BF3-44E8-8C84-68074A7762B6}"/>
          </ac:spMkLst>
        </pc:spChg>
        <pc:grpChg chg="mod">
          <ac:chgData name="Manuela Pichler" userId="07a841c1-49c8-4352-a8c3-3a0d96cf9a08" providerId="ADAL" clId="{19C3F344-1872-4107-BB25-B119B206E274}" dt="2019-11-26T11:26:28.584" v="258" actId="1076"/>
          <ac:grpSpMkLst>
            <pc:docMk/>
            <pc:sldMk cId="4289524203" sldId="2076136435"/>
            <ac:grpSpMk id="40" creationId="{E387EE30-E004-4D84-864A-8DA662DC96F8}"/>
          </ac:grpSpMkLst>
        </pc:grpChg>
      </pc:sldChg>
      <pc:sldChg chg="modSp">
        <pc:chgData name="Manuela Pichler" userId="07a841c1-49c8-4352-a8c3-3a0d96cf9a08" providerId="ADAL" clId="{19C3F344-1872-4107-BB25-B119B206E274}" dt="2019-11-26T11:26:53.564" v="294" actId="20577"/>
        <pc:sldMkLst>
          <pc:docMk/>
          <pc:sldMk cId="2162789239" sldId="2076136436"/>
        </pc:sldMkLst>
        <pc:spChg chg="mod">
          <ac:chgData name="Manuela Pichler" userId="07a841c1-49c8-4352-a8c3-3a0d96cf9a08" providerId="ADAL" clId="{19C3F344-1872-4107-BB25-B119B206E274}" dt="2019-11-26T11:26:53.564" v="294" actId="20577"/>
          <ac:spMkLst>
            <pc:docMk/>
            <pc:sldMk cId="2162789239" sldId="2076136436"/>
            <ac:spMk id="3" creationId="{977CEFB2-5B3B-4C63-BD48-531D94D247F7}"/>
          </ac:spMkLst>
        </pc:spChg>
        <pc:spChg chg="mod">
          <ac:chgData name="Manuela Pichler" userId="07a841c1-49c8-4352-a8c3-3a0d96cf9a08" providerId="ADAL" clId="{19C3F344-1872-4107-BB25-B119B206E274}" dt="2019-11-26T11:26:37.957" v="259" actId="20577"/>
          <ac:spMkLst>
            <pc:docMk/>
            <pc:sldMk cId="2162789239" sldId="2076136436"/>
            <ac:spMk id="42" creationId="{B972820B-CA9E-4E16-9589-E0AFF544D66F}"/>
          </ac:spMkLst>
        </pc:spChg>
        <pc:spChg chg="mod">
          <ac:chgData name="Manuela Pichler" userId="07a841c1-49c8-4352-a8c3-3a0d96cf9a08" providerId="ADAL" clId="{19C3F344-1872-4107-BB25-B119B206E274}" dt="2019-11-26T11:26:46.071" v="275" actId="1076"/>
          <ac:spMkLst>
            <pc:docMk/>
            <pc:sldMk cId="2162789239" sldId="2076136436"/>
            <ac:spMk id="43" creationId="{3F5ABCEC-5BF3-44E8-8C84-68074A7762B6}"/>
          </ac:spMkLst>
        </pc:spChg>
        <pc:grpChg chg="mod">
          <ac:chgData name="Manuela Pichler" userId="07a841c1-49c8-4352-a8c3-3a0d96cf9a08" providerId="ADAL" clId="{19C3F344-1872-4107-BB25-B119B206E274}" dt="2019-11-26T11:26:46.071" v="275" actId="1076"/>
          <ac:grpSpMkLst>
            <pc:docMk/>
            <pc:sldMk cId="2162789239" sldId="2076136436"/>
            <ac:grpSpMk id="40" creationId="{E387EE30-E004-4D84-864A-8DA662DC96F8}"/>
          </ac:grpSpMkLst>
        </pc:grpChg>
      </pc:sldChg>
      <pc:sldChg chg="delSp">
        <pc:chgData name="Manuela Pichler" userId="07a841c1-49c8-4352-a8c3-3a0d96cf9a08" providerId="ADAL" clId="{19C3F344-1872-4107-BB25-B119B206E274}" dt="2019-11-26T11:20:31.177" v="63" actId="478"/>
        <pc:sldMkLst>
          <pc:docMk/>
          <pc:sldMk cId="2729454466" sldId="2076136438"/>
        </pc:sldMkLst>
        <pc:spChg chg="del">
          <ac:chgData name="Manuela Pichler" userId="07a841c1-49c8-4352-a8c3-3a0d96cf9a08" providerId="ADAL" clId="{19C3F344-1872-4107-BB25-B119B206E274}" dt="2019-11-26T11:20:26.336" v="62" actId="478"/>
          <ac:spMkLst>
            <pc:docMk/>
            <pc:sldMk cId="2729454466" sldId="2076136438"/>
            <ac:spMk id="7" creationId="{633B6EC5-6254-431E-B2C3-E7E711128741}"/>
          </ac:spMkLst>
        </pc:spChg>
        <pc:spChg chg="del">
          <ac:chgData name="Manuela Pichler" userId="07a841c1-49c8-4352-a8c3-3a0d96cf9a08" providerId="ADAL" clId="{19C3F344-1872-4107-BB25-B119B206E274}" dt="2019-11-26T11:20:31.177" v="63" actId="478"/>
          <ac:spMkLst>
            <pc:docMk/>
            <pc:sldMk cId="2729454466" sldId="2076136438"/>
            <ac:spMk id="13" creationId="{1BAAEA15-0212-4009-8100-4201453EC1D9}"/>
          </ac:spMkLst>
        </pc:spChg>
      </pc:sldChg>
      <pc:sldChg chg="modSp modNotesTx">
        <pc:chgData name="Manuela Pichler" userId="07a841c1-49c8-4352-a8c3-3a0d96cf9a08" providerId="ADAL" clId="{19C3F344-1872-4107-BB25-B119B206E274}" dt="2019-11-26T11:45:59.811" v="1274" actId="20577"/>
        <pc:sldMkLst>
          <pc:docMk/>
          <pc:sldMk cId="81794600" sldId="2076136444"/>
        </pc:sldMkLst>
        <pc:spChg chg="mod">
          <ac:chgData name="Manuela Pichler" userId="07a841c1-49c8-4352-a8c3-3a0d96cf9a08" providerId="ADAL" clId="{19C3F344-1872-4107-BB25-B119B206E274}" dt="2019-11-26T11:34:22.867" v="620" actId="20577"/>
          <ac:spMkLst>
            <pc:docMk/>
            <pc:sldMk cId="81794600" sldId="2076136444"/>
            <ac:spMk id="7" creationId="{15448F28-35E1-4FDD-AF58-1B5B3446CD25}"/>
          </ac:spMkLst>
        </pc:spChg>
      </pc:sldChg>
      <pc:sldChg chg="modSp modNotesTx">
        <pc:chgData name="Manuela Pichler" userId="07a841c1-49c8-4352-a8c3-3a0d96cf9a08" providerId="ADAL" clId="{19C3F344-1872-4107-BB25-B119B206E274}" dt="2019-12-13T10:18:05.482" v="1803" actId="20577"/>
        <pc:sldMkLst>
          <pc:docMk/>
          <pc:sldMk cId="2232600153" sldId="2076136445"/>
        </pc:sldMkLst>
        <pc:spChg chg="mod">
          <ac:chgData name="Manuela Pichler" userId="07a841c1-49c8-4352-a8c3-3a0d96cf9a08" providerId="ADAL" clId="{19C3F344-1872-4107-BB25-B119B206E274}" dt="2019-11-26T11:34:33.454" v="635" actId="20577"/>
          <ac:spMkLst>
            <pc:docMk/>
            <pc:sldMk cId="2232600153" sldId="2076136445"/>
            <ac:spMk id="3" creationId="{1656B400-F4EB-4830-B6FD-1F44A924A145}"/>
          </ac:spMkLst>
        </pc:spChg>
      </pc:sldChg>
      <pc:sldChg chg="modNotesTx">
        <pc:chgData name="Manuela Pichler" userId="07a841c1-49c8-4352-a8c3-3a0d96cf9a08" providerId="ADAL" clId="{19C3F344-1872-4107-BB25-B119B206E274}" dt="2019-11-26T11:54:32.195" v="1692" actId="20577"/>
        <pc:sldMkLst>
          <pc:docMk/>
          <pc:sldMk cId="1263312216" sldId="2076136454"/>
        </pc:sldMkLst>
      </pc:sldChg>
      <pc:sldChg chg="modSp">
        <pc:chgData name="Manuela Pichler" userId="07a841c1-49c8-4352-a8c3-3a0d96cf9a08" providerId="ADAL" clId="{19C3F344-1872-4107-BB25-B119B206E274}" dt="2019-11-29T17:30:37.535" v="1714" actId="1076"/>
        <pc:sldMkLst>
          <pc:docMk/>
          <pc:sldMk cId="1790459841" sldId="2076136455"/>
        </pc:sldMkLst>
        <pc:spChg chg="mod">
          <ac:chgData name="Manuela Pichler" userId="07a841c1-49c8-4352-a8c3-3a0d96cf9a08" providerId="ADAL" clId="{19C3F344-1872-4107-BB25-B119B206E274}" dt="2019-11-29T17:29:37.707" v="1713" actId="1076"/>
          <ac:spMkLst>
            <pc:docMk/>
            <pc:sldMk cId="1790459841" sldId="2076136455"/>
            <ac:spMk id="3" creationId="{1656B400-F4EB-4830-B6FD-1F44A924A145}"/>
          </ac:spMkLst>
        </pc:spChg>
        <pc:spChg chg="mod">
          <ac:chgData name="Manuela Pichler" userId="07a841c1-49c8-4352-a8c3-3a0d96cf9a08" providerId="ADAL" clId="{19C3F344-1872-4107-BB25-B119B206E274}" dt="2019-11-29T17:30:37.535" v="1714" actId="1076"/>
          <ac:spMkLst>
            <pc:docMk/>
            <pc:sldMk cId="1790459841" sldId="2076136455"/>
            <ac:spMk id="4" creationId="{46877DAA-3610-450F-87D2-768166F1992E}"/>
          </ac:spMkLst>
        </pc:spChg>
        <pc:spChg chg="mod">
          <ac:chgData name="Manuela Pichler" userId="07a841c1-49c8-4352-a8c3-3a0d96cf9a08" providerId="ADAL" clId="{19C3F344-1872-4107-BB25-B119B206E274}" dt="2019-11-29T17:30:37.535" v="1714" actId="1076"/>
          <ac:spMkLst>
            <pc:docMk/>
            <pc:sldMk cId="1790459841" sldId="2076136455"/>
            <ac:spMk id="7" creationId="{FF1A6608-4EAB-4525-81FC-89EC793646B3}"/>
          </ac:spMkLst>
        </pc:spChg>
        <pc:spChg chg="mod">
          <ac:chgData name="Manuela Pichler" userId="07a841c1-49c8-4352-a8c3-3a0d96cf9a08" providerId="ADAL" clId="{19C3F344-1872-4107-BB25-B119B206E274}" dt="2019-11-29T17:30:37.535" v="1714" actId="1076"/>
          <ac:spMkLst>
            <pc:docMk/>
            <pc:sldMk cId="1790459841" sldId="2076136455"/>
            <ac:spMk id="8" creationId="{7F8EDA67-47C2-4FA4-9310-13BC305FE0E3}"/>
          </ac:spMkLst>
        </pc:spChg>
        <pc:spChg chg="mod">
          <ac:chgData name="Manuela Pichler" userId="07a841c1-49c8-4352-a8c3-3a0d96cf9a08" providerId="ADAL" clId="{19C3F344-1872-4107-BB25-B119B206E274}" dt="2019-11-29T17:30:37.535" v="1714" actId="1076"/>
          <ac:spMkLst>
            <pc:docMk/>
            <pc:sldMk cId="1790459841" sldId="2076136455"/>
            <ac:spMk id="10" creationId="{7965812C-CE1A-4E32-98BB-C0829E68759B}"/>
          </ac:spMkLst>
        </pc:spChg>
        <pc:spChg chg="mod">
          <ac:chgData name="Manuela Pichler" userId="07a841c1-49c8-4352-a8c3-3a0d96cf9a08" providerId="ADAL" clId="{19C3F344-1872-4107-BB25-B119B206E274}" dt="2019-11-29T17:30:37.535" v="1714" actId="1076"/>
          <ac:spMkLst>
            <pc:docMk/>
            <pc:sldMk cId="1790459841" sldId="2076136455"/>
            <ac:spMk id="12" creationId="{1111EAA5-4E89-40DD-B9B4-3114CBAD3A7C}"/>
          </ac:spMkLst>
        </pc:spChg>
        <pc:spChg chg="mod">
          <ac:chgData name="Manuela Pichler" userId="07a841c1-49c8-4352-a8c3-3a0d96cf9a08" providerId="ADAL" clId="{19C3F344-1872-4107-BB25-B119B206E274}" dt="2019-11-29T17:30:37.535" v="1714" actId="1076"/>
          <ac:spMkLst>
            <pc:docMk/>
            <pc:sldMk cId="1790459841" sldId="2076136455"/>
            <ac:spMk id="13" creationId="{1D456442-798F-4CBF-99BD-BF7CFD196A6D}"/>
          </ac:spMkLst>
        </pc:spChg>
        <pc:spChg chg="mod">
          <ac:chgData name="Manuela Pichler" userId="07a841c1-49c8-4352-a8c3-3a0d96cf9a08" providerId="ADAL" clId="{19C3F344-1872-4107-BB25-B119B206E274}" dt="2019-11-29T17:30:37.535" v="1714" actId="1076"/>
          <ac:spMkLst>
            <pc:docMk/>
            <pc:sldMk cId="1790459841" sldId="2076136455"/>
            <ac:spMk id="14" creationId="{07F5A8FE-4FFD-44FA-BEBD-DF7B3F0C858F}"/>
          </ac:spMkLst>
        </pc:spChg>
        <pc:spChg chg="mod">
          <ac:chgData name="Manuela Pichler" userId="07a841c1-49c8-4352-a8c3-3a0d96cf9a08" providerId="ADAL" clId="{19C3F344-1872-4107-BB25-B119B206E274}" dt="2019-11-29T17:30:37.535" v="1714" actId="1076"/>
          <ac:spMkLst>
            <pc:docMk/>
            <pc:sldMk cId="1790459841" sldId="2076136455"/>
            <ac:spMk id="17" creationId="{2E8E8677-E998-40A2-AA11-7D0D6A4E2ACF}"/>
          </ac:spMkLst>
        </pc:spChg>
        <pc:spChg chg="mod">
          <ac:chgData name="Manuela Pichler" userId="07a841c1-49c8-4352-a8c3-3a0d96cf9a08" providerId="ADAL" clId="{19C3F344-1872-4107-BB25-B119B206E274}" dt="2019-11-29T17:30:37.535" v="1714" actId="1076"/>
          <ac:spMkLst>
            <pc:docMk/>
            <pc:sldMk cId="1790459841" sldId="2076136455"/>
            <ac:spMk id="18" creationId="{910F8EED-CE4C-4E78-959B-395728584874}"/>
          </ac:spMkLst>
        </pc:spChg>
        <pc:spChg chg="mod">
          <ac:chgData name="Manuela Pichler" userId="07a841c1-49c8-4352-a8c3-3a0d96cf9a08" providerId="ADAL" clId="{19C3F344-1872-4107-BB25-B119B206E274}" dt="2019-11-29T17:30:37.535" v="1714" actId="1076"/>
          <ac:spMkLst>
            <pc:docMk/>
            <pc:sldMk cId="1790459841" sldId="2076136455"/>
            <ac:spMk id="19" creationId="{FB323A92-1956-4DF7-8D41-C6696D455286}"/>
          </ac:spMkLst>
        </pc:spChg>
        <pc:spChg chg="mod">
          <ac:chgData name="Manuela Pichler" userId="07a841c1-49c8-4352-a8c3-3a0d96cf9a08" providerId="ADAL" clId="{19C3F344-1872-4107-BB25-B119B206E274}" dt="2019-11-29T17:30:37.535" v="1714" actId="1076"/>
          <ac:spMkLst>
            <pc:docMk/>
            <pc:sldMk cId="1790459841" sldId="2076136455"/>
            <ac:spMk id="20" creationId="{CFCFED9A-5C77-4771-BA70-93BDC228D654}"/>
          </ac:spMkLst>
        </pc:spChg>
        <pc:spChg chg="mod">
          <ac:chgData name="Manuela Pichler" userId="07a841c1-49c8-4352-a8c3-3a0d96cf9a08" providerId="ADAL" clId="{19C3F344-1872-4107-BB25-B119B206E274}" dt="2019-11-29T17:30:37.535" v="1714" actId="1076"/>
          <ac:spMkLst>
            <pc:docMk/>
            <pc:sldMk cId="1790459841" sldId="2076136455"/>
            <ac:spMk id="21" creationId="{AD5F4010-93A2-4195-878F-6E31C02F8882}"/>
          </ac:spMkLst>
        </pc:spChg>
        <pc:spChg chg="mod">
          <ac:chgData name="Manuela Pichler" userId="07a841c1-49c8-4352-a8c3-3a0d96cf9a08" providerId="ADAL" clId="{19C3F344-1872-4107-BB25-B119B206E274}" dt="2019-11-29T17:30:37.535" v="1714" actId="1076"/>
          <ac:spMkLst>
            <pc:docMk/>
            <pc:sldMk cId="1790459841" sldId="2076136455"/>
            <ac:spMk id="22" creationId="{8C0DD28D-DDFA-4761-AB48-CCE120540391}"/>
          </ac:spMkLst>
        </pc:spChg>
        <pc:spChg chg="mod">
          <ac:chgData name="Manuela Pichler" userId="07a841c1-49c8-4352-a8c3-3a0d96cf9a08" providerId="ADAL" clId="{19C3F344-1872-4107-BB25-B119B206E274}" dt="2019-11-29T17:30:37.535" v="1714" actId="1076"/>
          <ac:spMkLst>
            <pc:docMk/>
            <pc:sldMk cId="1790459841" sldId="2076136455"/>
            <ac:spMk id="23" creationId="{B3437785-351C-4C9C-982B-B3B225ED2CC3}"/>
          </ac:spMkLst>
        </pc:spChg>
        <pc:spChg chg="mod">
          <ac:chgData name="Manuela Pichler" userId="07a841c1-49c8-4352-a8c3-3a0d96cf9a08" providerId="ADAL" clId="{19C3F344-1872-4107-BB25-B119B206E274}" dt="2019-11-29T17:30:37.535" v="1714" actId="1076"/>
          <ac:spMkLst>
            <pc:docMk/>
            <pc:sldMk cId="1790459841" sldId="2076136455"/>
            <ac:spMk id="24" creationId="{D8CDA01A-3E3F-4B74-9120-8A0801D6A57A}"/>
          </ac:spMkLst>
        </pc:spChg>
        <pc:spChg chg="mod">
          <ac:chgData name="Manuela Pichler" userId="07a841c1-49c8-4352-a8c3-3a0d96cf9a08" providerId="ADAL" clId="{19C3F344-1872-4107-BB25-B119B206E274}" dt="2019-11-29T17:30:37.535" v="1714" actId="1076"/>
          <ac:spMkLst>
            <pc:docMk/>
            <pc:sldMk cId="1790459841" sldId="2076136455"/>
            <ac:spMk id="27" creationId="{89849E2D-A7BE-4A58-B095-89E64CFE4F10}"/>
          </ac:spMkLst>
        </pc:spChg>
        <pc:spChg chg="mod">
          <ac:chgData name="Manuela Pichler" userId="07a841c1-49c8-4352-a8c3-3a0d96cf9a08" providerId="ADAL" clId="{19C3F344-1872-4107-BB25-B119B206E274}" dt="2019-11-29T17:30:37.535" v="1714" actId="1076"/>
          <ac:spMkLst>
            <pc:docMk/>
            <pc:sldMk cId="1790459841" sldId="2076136455"/>
            <ac:spMk id="32" creationId="{BFC5889A-D64E-4DD9-814B-20CD5426E4E7}"/>
          </ac:spMkLst>
        </pc:spChg>
        <pc:spChg chg="mod">
          <ac:chgData name="Manuela Pichler" userId="07a841c1-49c8-4352-a8c3-3a0d96cf9a08" providerId="ADAL" clId="{19C3F344-1872-4107-BB25-B119B206E274}" dt="2019-11-29T17:30:37.535" v="1714" actId="1076"/>
          <ac:spMkLst>
            <pc:docMk/>
            <pc:sldMk cId="1790459841" sldId="2076136455"/>
            <ac:spMk id="33" creationId="{D0BFAF3B-3FA9-404F-82CE-89025A49EE19}"/>
          </ac:spMkLst>
        </pc:spChg>
        <pc:spChg chg="mod">
          <ac:chgData name="Manuela Pichler" userId="07a841c1-49c8-4352-a8c3-3a0d96cf9a08" providerId="ADAL" clId="{19C3F344-1872-4107-BB25-B119B206E274}" dt="2019-11-29T17:30:37.535" v="1714" actId="1076"/>
          <ac:spMkLst>
            <pc:docMk/>
            <pc:sldMk cId="1790459841" sldId="2076136455"/>
            <ac:spMk id="34" creationId="{F1E1700B-8FFD-47CA-9C19-BB6B4BEE3DFE}"/>
          </ac:spMkLst>
        </pc:spChg>
        <pc:spChg chg="mod">
          <ac:chgData name="Manuela Pichler" userId="07a841c1-49c8-4352-a8c3-3a0d96cf9a08" providerId="ADAL" clId="{19C3F344-1872-4107-BB25-B119B206E274}" dt="2019-11-29T17:30:37.535" v="1714" actId="1076"/>
          <ac:spMkLst>
            <pc:docMk/>
            <pc:sldMk cId="1790459841" sldId="2076136455"/>
            <ac:spMk id="35" creationId="{33803A2B-EFA0-424F-B5DA-86C49E35DB5C}"/>
          </ac:spMkLst>
        </pc:spChg>
        <pc:spChg chg="mod">
          <ac:chgData name="Manuela Pichler" userId="07a841c1-49c8-4352-a8c3-3a0d96cf9a08" providerId="ADAL" clId="{19C3F344-1872-4107-BB25-B119B206E274}" dt="2019-11-29T17:30:37.535" v="1714" actId="1076"/>
          <ac:spMkLst>
            <pc:docMk/>
            <pc:sldMk cId="1790459841" sldId="2076136455"/>
            <ac:spMk id="36" creationId="{EDC6A7AC-478C-4CC1-977A-CFC2ACB9BB75}"/>
          </ac:spMkLst>
        </pc:spChg>
      </pc:sldChg>
      <pc:sldChg chg="modNotesTx">
        <pc:chgData name="Manuela Pichler" userId="07a841c1-49c8-4352-a8c3-3a0d96cf9a08" providerId="ADAL" clId="{19C3F344-1872-4107-BB25-B119B206E274}" dt="2019-11-26T11:51:56.959" v="1516" actId="20577"/>
        <pc:sldMkLst>
          <pc:docMk/>
          <pc:sldMk cId="4094586572" sldId="2076136525"/>
        </pc:sldMkLst>
      </pc:sldChg>
      <pc:sldChg chg="modSp add del modTransition">
        <pc:chgData name="Manuela Pichler" userId="07a841c1-49c8-4352-a8c3-3a0d96cf9a08" providerId="ADAL" clId="{19C3F344-1872-4107-BB25-B119B206E274}" dt="2019-11-26T12:01:18.949" v="1711"/>
        <pc:sldMkLst>
          <pc:docMk/>
          <pc:sldMk cId="1972666926" sldId="2076137784"/>
        </pc:sldMkLst>
        <pc:spChg chg="mod">
          <ac:chgData name="Manuela Pichler" userId="07a841c1-49c8-4352-a8c3-3a0d96cf9a08" providerId="ADAL" clId="{19C3F344-1872-4107-BB25-B119B206E274}" dt="2019-11-26T12:01:10.952" v="1707" actId="404"/>
          <ac:spMkLst>
            <pc:docMk/>
            <pc:sldMk cId="1972666926" sldId="2076137784"/>
            <ac:spMk id="2" creationId="{6FD093B6-5D02-4EF2-90FC-F1C08DB4F626}"/>
          </ac:spMkLst>
        </pc:spChg>
      </pc:sldChg>
      <pc:sldChg chg="modSp add mod ord">
        <pc:chgData name="Manuela Pichler" userId="07a841c1-49c8-4352-a8c3-3a0d96cf9a08" providerId="ADAL" clId="{19C3F344-1872-4107-BB25-B119B206E274}" dt="2019-12-13T08:41:23.445" v="1793" actId="313"/>
        <pc:sldMkLst>
          <pc:docMk/>
          <pc:sldMk cId="1703197486" sldId="2076137785"/>
        </pc:sldMkLst>
        <pc:spChg chg="mod">
          <ac:chgData name="Manuela Pichler" userId="07a841c1-49c8-4352-a8c3-3a0d96cf9a08" providerId="ADAL" clId="{19C3F344-1872-4107-BB25-B119B206E274}" dt="2019-12-13T08:41:23.445" v="1793" actId="313"/>
          <ac:spMkLst>
            <pc:docMk/>
            <pc:sldMk cId="1703197486" sldId="2076137785"/>
            <ac:spMk id="8" creationId="{E21DF51B-75AF-48EE-863F-477C2B5E729D}"/>
          </ac:spMkLst>
        </pc:spChg>
        <pc:picChg chg="mod">
          <ac:chgData name="Manuela Pichler" userId="07a841c1-49c8-4352-a8c3-3a0d96cf9a08" providerId="ADAL" clId="{19C3F344-1872-4107-BB25-B119B206E274}" dt="2019-12-12T21:18:57.267" v="1735" actId="1076"/>
          <ac:picMkLst>
            <pc:docMk/>
            <pc:sldMk cId="1703197486" sldId="2076137785"/>
            <ac:picMk id="3" creationId="{B84E1A5C-8D98-4FC3-B146-9BA5CE844B69}"/>
          </ac:picMkLst>
        </pc:picChg>
      </pc:sldChg>
      <pc:sldChg chg="addSp delSp modSp add mod">
        <pc:chgData name="Manuela Pichler" userId="07a841c1-49c8-4352-a8c3-3a0d96cf9a08" providerId="ADAL" clId="{19C3F344-1872-4107-BB25-B119B206E274}" dt="2019-12-13T08:39:09.329" v="1790" actId="113"/>
        <pc:sldMkLst>
          <pc:docMk/>
          <pc:sldMk cId="2946937870" sldId="2076137786"/>
        </pc:sldMkLst>
        <pc:spChg chg="mod">
          <ac:chgData name="Manuela Pichler" userId="07a841c1-49c8-4352-a8c3-3a0d96cf9a08" providerId="ADAL" clId="{19C3F344-1872-4107-BB25-B119B206E274}" dt="2019-12-13T08:37:07.233" v="1761" actId="20577"/>
          <ac:spMkLst>
            <pc:docMk/>
            <pc:sldMk cId="2946937870" sldId="2076137786"/>
            <ac:spMk id="2" creationId="{1D35CC2E-2F8E-4D4A-9CB9-93C5529D3DC9}"/>
          </ac:spMkLst>
        </pc:spChg>
        <pc:spChg chg="add mod">
          <ac:chgData name="Manuela Pichler" userId="07a841c1-49c8-4352-a8c3-3a0d96cf9a08" providerId="ADAL" clId="{19C3F344-1872-4107-BB25-B119B206E274}" dt="2019-12-13T08:39:09.329" v="1790" actId="113"/>
          <ac:spMkLst>
            <pc:docMk/>
            <pc:sldMk cId="2946937870" sldId="2076137786"/>
            <ac:spMk id="3" creationId="{E1DE2206-D49B-45FB-A37C-AA598FE76FCA}"/>
          </ac:spMkLst>
        </pc:spChg>
        <pc:spChg chg="mod">
          <ac:chgData name="Manuela Pichler" userId="07a841c1-49c8-4352-a8c3-3a0d96cf9a08" providerId="ADAL" clId="{19C3F344-1872-4107-BB25-B119B206E274}" dt="2019-12-13T08:37:28.798" v="1769" actId="20577"/>
          <ac:spMkLst>
            <pc:docMk/>
            <pc:sldMk cId="2946937870" sldId="2076137786"/>
            <ac:spMk id="8" creationId="{C59A5821-0774-4945-8C15-07984AC2DC4F}"/>
          </ac:spMkLst>
        </pc:spChg>
        <pc:picChg chg="del">
          <ac:chgData name="Manuela Pichler" userId="07a841c1-49c8-4352-a8c3-3a0d96cf9a08" providerId="ADAL" clId="{19C3F344-1872-4107-BB25-B119B206E274}" dt="2019-12-13T08:37:09.186" v="1762" actId="478"/>
          <ac:picMkLst>
            <pc:docMk/>
            <pc:sldMk cId="2946937870" sldId="2076137786"/>
            <ac:picMk id="4" creationId="{E6E8734D-E817-4240-B7DA-0130D533B017}"/>
          </ac:picMkLst>
        </pc:picChg>
        <pc:picChg chg="del">
          <ac:chgData name="Manuela Pichler" userId="07a841c1-49c8-4352-a8c3-3a0d96cf9a08" providerId="ADAL" clId="{19C3F344-1872-4107-BB25-B119B206E274}" dt="2019-12-13T08:37:15.192" v="1764" actId="478"/>
          <ac:picMkLst>
            <pc:docMk/>
            <pc:sldMk cId="2946937870" sldId="2076137786"/>
            <ac:picMk id="6" creationId="{AEC07081-7DA2-4065-A837-B2192B53D56D}"/>
          </ac:picMkLst>
        </pc:picChg>
      </pc:sldChg>
      <pc:sldMasterChg chg="delSldLayout">
        <pc:chgData name="Manuela Pichler" userId="07a841c1-49c8-4352-a8c3-3a0d96cf9a08" providerId="ADAL" clId="{19C3F344-1872-4107-BB25-B119B206E274}" dt="2019-11-26T11:58:49.706" v="1702" actId="2696"/>
        <pc:sldMasterMkLst>
          <pc:docMk/>
          <pc:sldMasterMk cId="2644651193" sldId="2147483744"/>
        </pc:sldMasterMkLst>
      </pc:sldMasterChg>
    </pc:docChg>
  </pc:docChgLst>
  <pc:docChgLst>
    <pc:chgData name="Manuela Pichler" userId="07a841c1-49c8-4352-a8c3-3a0d96cf9a08" providerId="ADAL" clId="{3AC07390-40B8-4A9E-BB37-84A8CA5BA0D5}"/>
    <pc:docChg chg="modSld">
      <pc:chgData name="Manuela Pichler" userId="07a841c1-49c8-4352-a8c3-3a0d96cf9a08" providerId="ADAL" clId="{3AC07390-40B8-4A9E-BB37-84A8CA5BA0D5}" dt="2019-11-03T13:12:46.175" v="21" actId="20577"/>
      <pc:docMkLst>
        <pc:docMk/>
      </pc:docMkLst>
      <pc:sldChg chg="modSp">
        <pc:chgData name="Manuela Pichler" userId="07a841c1-49c8-4352-a8c3-3a0d96cf9a08" providerId="ADAL" clId="{3AC07390-40B8-4A9E-BB37-84A8CA5BA0D5}" dt="2019-11-03T13:12:46.175" v="21" actId="20577"/>
        <pc:sldMkLst>
          <pc:docMk/>
          <pc:sldMk cId="1752717387" sldId="10389"/>
        </pc:sldMkLst>
        <pc:spChg chg="mod">
          <ac:chgData name="Manuela Pichler" userId="07a841c1-49c8-4352-a8c3-3a0d96cf9a08" providerId="ADAL" clId="{3AC07390-40B8-4A9E-BB37-84A8CA5BA0D5}" dt="2019-11-03T13:12:46.175" v="21" actId="20577"/>
          <ac:spMkLst>
            <pc:docMk/>
            <pc:sldMk cId="1752717387" sldId="10389"/>
            <ac:spMk id="2" creationId="{13735104-7621-48E7-B029-AB6C53CB7DF6}"/>
          </ac:spMkLst>
        </pc:spChg>
      </pc:sldChg>
    </pc:docChg>
  </pc:docChgLst>
  <pc:docChgLst>
    <pc:chgData name="Manuela Pichler" userId="07a841c1-49c8-4352-a8c3-3a0d96cf9a08" providerId="ADAL" clId="{0941F924-3F24-4714-990E-9A8C08AAED65}"/>
    <pc:docChg chg="undo redo custSel addSld delSld modSld sldOrd modMainMaster addSection delSection modSection">
      <pc:chgData name="Manuela Pichler" userId="07a841c1-49c8-4352-a8c3-3a0d96cf9a08" providerId="ADAL" clId="{0941F924-3F24-4714-990E-9A8C08AAED65}" dt="2020-11-27T13:13:58.435" v="603" actId="1076"/>
      <pc:docMkLst>
        <pc:docMk/>
      </pc:docMkLst>
      <pc:sldChg chg="add del">
        <pc:chgData name="Manuela Pichler" userId="07a841c1-49c8-4352-a8c3-3a0d96cf9a08" providerId="ADAL" clId="{0941F924-3F24-4714-990E-9A8C08AAED65}" dt="2020-11-27T12:40:15.793" v="102"/>
        <pc:sldMkLst>
          <pc:docMk/>
          <pc:sldMk cId="1028096835" sldId="329"/>
        </pc:sldMkLst>
      </pc:sldChg>
      <pc:sldChg chg="modSp del mod">
        <pc:chgData name="Manuela Pichler" userId="07a841c1-49c8-4352-a8c3-3a0d96cf9a08" providerId="ADAL" clId="{0941F924-3F24-4714-990E-9A8C08AAED65}" dt="2020-11-27T12:39:48.160" v="86" actId="47"/>
        <pc:sldMkLst>
          <pc:docMk/>
          <pc:sldMk cId="2920650541" sldId="336"/>
        </pc:sldMkLst>
        <pc:spChg chg="mod">
          <ac:chgData name="Manuela Pichler" userId="07a841c1-49c8-4352-a8c3-3a0d96cf9a08" providerId="ADAL" clId="{0941F924-3F24-4714-990E-9A8C08AAED65}" dt="2020-11-27T12:29:29.539" v="8" actId="20577"/>
          <ac:spMkLst>
            <pc:docMk/>
            <pc:sldMk cId="2920650541" sldId="336"/>
            <ac:spMk id="88" creationId="{C2739AB8-3B13-FD4F-8E7F-874AFAB824C6}"/>
          </ac:spMkLst>
        </pc:spChg>
      </pc:sldChg>
      <pc:sldChg chg="add del">
        <pc:chgData name="Manuela Pichler" userId="07a841c1-49c8-4352-a8c3-3a0d96cf9a08" providerId="ADAL" clId="{0941F924-3F24-4714-990E-9A8C08AAED65}" dt="2020-11-27T12:40:15.793" v="102"/>
        <pc:sldMkLst>
          <pc:docMk/>
          <pc:sldMk cId="606940257" sldId="423"/>
        </pc:sldMkLst>
      </pc:sldChg>
      <pc:sldChg chg="del">
        <pc:chgData name="Manuela Pichler" userId="07a841c1-49c8-4352-a8c3-3a0d96cf9a08" providerId="ADAL" clId="{0941F924-3F24-4714-990E-9A8C08AAED65}" dt="2020-11-27T12:57:33.466" v="320" actId="47"/>
        <pc:sldMkLst>
          <pc:docMk/>
          <pc:sldMk cId="600643286" sldId="1609"/>
        </pc:sldMkLst>
      </pc:sldChg>
      <pc:sldChg chg="modSp">
        <pc:chgData name="Manuela Pichler" userId="07a841c1-49c8-4352-a8c3-3a0d96cf9a08" providerId="ADAL" clId="{0941F924-3F24-4714-990E-9A8C08AAED65}" dt="2020-11-27T12:48:20.005" v="216"/>
        <pc:sldMkLst>
          <pc:docMk/>
          <pc:sldMk cId="3182226437" sldId="1615"/>
        </pc:sldMkLst>
        <pc:spChg chg="mod">
          <ac:chgData name="Manuela Pichler" userId="07a841c1-49c8-4352-a8c3-3a0d96cf9a08" providerId="ADAL" clId="{0941F924-3F24-4714-990E-9A8C08AAED65}" dt="2020-11-27T12:48:20.005" v="216"/>
          <ac:spMkLst>
            <pc:docMk/>
            <pc:sldMk cId="3182226437" sldId="1615"/>
            <ac:spMk id="3" creationId="{C66C2286-91E2-474D-B7EA-29F96D2B1743}"/>
          </ac:spMkLst>
        </pc:spChg>
      </pc:sldChg>
      <pc:sldChg chg="modSp">
        <pc:chgData name="Manuela Pichler" userId="07a841c1-49c8-4352-a8c3-3a0d96cf9a08" providerId="ADAL" clId="{0941F924-3F24-4714-990E-9A8C08AAED65}" dt="2020-11-27T12:53:06.877" v="273"/>
        <pc:sldMkLst>
          <pc:docMk/>
          <pc:sldMk cId="3008713261" sldId="1617"/>
        </pc:sldMkLst>
        <pc:spChg chg="mod">
          <ac:chgData name="Manuela Pichler" userId="07a841c1-49c8-4352-a8c3-3a0d96cf9a08" providerId="ADAL" clId="{0941F924-3F24-4714-990E-9A8C08AAED65}" dt="2020-11-27T12:53:06.877" v="273"/>
          <ac:spMkLst>
            <pc:docMk/>
            <pc:sldMk cId="3008713261" sldId="1617"/>
            <ac:spMk id="2" creationId="{0589948D-741D-4AAC-8F43-D999997B17B6}"/>
          </ac:spMkLst>
        </pc:spChg>
      </pc:sldChg>
      <pc:sldChg chg="modSp del">
        <pc:chgData name="Manuela Pichler" userId="07a841c1-49c8-4352-a8c3-3a0d96cf9a08" providerId="ADAL" clId="{0941F924-3F24-4714-990E-9A8C08AAED65}" dt="2020-11-27T12:54:47.017" v="312" actId="47"/>
        <pc:sldMkLst>
          <pc:docMk/>
          <pc:sldMk cId="202220325" sldId="1618"/>
        </pc:sldMkLst>
        <pc:spChg chg="mod">
          <ac:chgData name="Manuela Pichler" userId="07a841c1-49c8-4352-a8c3-3a0d96cf9a08" providerId="ADAL" clId="{0941F924-3F24-4714-990E-9A8C08AAED65}" dt="2020-11-27T12:53:06.877" v="273"/>
          <ac:spMkLst>
            <pc:docMk/>
            <pc:sldMk cId="202220325" sldId="1618"/>
            <ac:spMk id="2" creationId="{D96C451D-F6A9-4F48-95AB-DFD37C889C8F}"/>
          </ac:spMkLst>
        </pc:spChg>
        <pc:spChg chg="mod">
          <ac:chgData name="Manuela Pichler" userId="07a841c1-49c8-4352-a8c3-3a0d96cf9a08" providerId="ADAL" clId="{0941F924-3F24-4714-990E-9A8C08AAED65}" dt="2020-11-27T12:48:20.005" v="216"/>
          <ac:spMkLst>
            <pc:docMk/>
            <pc:sldMk cId="202220325" sldId="1618"/>
            <ac:spMk id="3" creationId="{0E1F14AF-B1BD-4117-9C99-3239E7CEF792}"/>
          </ac:spMkLst>
        </pc:spChg>
      </pc:sldChg>
      <pc:sldChg chg="modSp">
        <pc:chgData name="Manuela Pichler" userId="07a841c1-49c8-4352-a8c3-3a0d96cf9a08" providerId="ADAL" clId="{0941F924-3F24-4714-990E-9A8C08AAED65}" dt="2020-11-27T12:53:06.877" v="273"/>
        <pc:sldMkLst>
          <pc:docMk/>
          <pc:sldMk cId="3953323326" sldId="1619"/>
        </pc:sldMkLst>
        <pc:spChg chg="mod">
          <ac:chgData name="Manuela Pichler" userId="07a841c1-49c8-4352-a8c3-3a0d96cf9a08" providerId="ADAL" clId="{0941F924-3F24-4714-990E-9A8C08AAED65}" dt="2020-11-27T12:53:06.877" v="273"/>
          <ac:spMkLst>
            <pc:docMk/>
            <pc:sldMk cId="3953323326" sldId="1619"/>
            <ac:spMk id="2" creationId="{81F079E9-1D82-4101-A4DA-7C90B36D58A1}"/>
          </ac:spMkLst>
        </pc:spChg>
        <pc:spChg chg="mod">
          <ac:chgData name="Manuela Pichler" userId="07a841c1-49c8-4352-a8c3-3a0d96cf9a08" providerId="ADAL" clId="{0941F924-3F24-4714-990E-9A8C08AAED65}" dt="2020-11-27T12:48:20.005" v="216"/>
          <ac:spMkLst>
            <pc:docMk/>
            <pc:sldMk cId="3953323326" sldId="1619"/>
            <ac:spMk id="3" creationId="{D47D21CB-E422-4FDB-824B-230C488469B3}"/>
          </ac:spMkLst>
        </pc:spChg>
      </pc:sldChg>
      <pc:sldChg chg="modSp del">
        <pc:chgData name="Manuela Pichler" userId="07a841c1-49c8-4352-a8c3-3a0d96cf9a08" providerId="ADAL" clId="{0941F924-3F24-4714-990E-9A8C08AAED65}" dt="2020-11-27T12:57:32.387" v="319" actId="47"/>
        <pc:sldMkLst>
          <pc:docMk/>
          <pc:sldMk cId="1931372935" sldId="1620"/>
        </pc:sldMkLst>
        <pc:spChg chg="mod">
          <ac:chgData name="Manuela Pichler" userId="07a841c1-49c8-4352-a8c3-3a0d96cf9a08" providerId="ADAL" clId="{0941F924-3F24-4714-990E-9A8C08AAED65}" dt="2020-11-27T12:53:06.877" v="273"/>
          <ac:spMkLst>
            <pc:docMk/>
            <pc:sldMk cId="1931372935" sldId="1620"/>
            <ac:spMk id="2" creationId="{EBF40E33-E87A-433F-B9DB-551A58AC2DB6}"/>
          </ac:spMkLst>
        </pc:spChg>
      </pc:sldChg>
      <pc:sldChg chg="del">
        <pc:chgData name="Manuela Pichler" userId="07a841c1-49c8-4352-a8c3-3a0d96cf9a08" providerId="ADAL" clId="{0941F924-3F24-4714-990E-9A8C08AAED65}" dt="2020-11-27T13:01:31.377" v="368" actId="47"/>
        <pc:sldMkLst>
          <pc:docMk/>
          <pc:sldMk cId="21991821" sldId="1623"/>
        </pc:sldMkLst>
      </pc:sldChg>
      <pc:sldChg chg="modSp">
        <pc:chgData name="Manuela Pichler" userId="07a841c1-49c8-4352-a8c3-3a0d96cf9a08" providerId="ADAL" clId="{0941F924-3F24-4714-990E-9A8C08AAED65}" dt="2020-11-27T12:53:06.877" v="273"/>
        <pc:sldMkLst>
          <pc:docMk/>
          <pc:sldMk cId="247361136" sldId="1626"/>
        </pc:sldMkLst>
        <pc:spChg chg="mod">
          <ac:chgData name="Manuela Pichler" userId="07a841c1-49c8-4352-a8c3-3a0d96cf9a08" providerId="ADAL" clId="{0941F924-3F24-4714-990E-9A8C08AAED65}" dt="2020-11-27T12:53:06.877" v="273"/>
          <ac:spMkLst>
            <pc:docMk/>
            <pc:sldMk cId="247361136" sldId="1626"/>
            <ac:spMk id="2" creationId="{C236FAD6-CEC1-4818-A76D-1848770EDFEF}"/>
          </ac:spMkLst>
        </pc:spChg>
        <pc:spChg chg="mod">
          <ac:chgData name="Manuela Pichler" userId="07a841c1-49c8-4352-a8c3-3a0d96cf9a08" providerId="ADAL" clId="{0941F924-3F24-4714-990E-9A8C08AAED65}" dt="2020-11-27T12:48:20.005" v="216"/>
          <ac:spMkLst>
            <pc:docMk/>
            <pc:sldMk cId="247361136" sldId="1626"/>
            <ac:spMk id="3" creationId="{C3F354AB-701E-414B-87B9-11FE87ED49B5}"/>
          </ac:spMkLst>
        </pc:spChg>
      </pc:sldChg>
      <pc:sldChg chg="del">
        <pc:chgData name="Manuela Pichler" userId="07a841c1-49c8-4352-a8c3-3a0d96cf9a08" providerId="ADAL" clId="{0941F924-3F24-4714-990E-9A8C08AAED65}" dt="2020-11-27T13:01:31.377" v="368" actId="47"/>
        <pc:sldMkLst>
          <pc:docMk/>
          <pc:sldMk cId="978387420" sldId="1629"/>
        </pc:sldMkLst>
      </pc:sldChg>
      <pc:sldChg chg="del">
        <pc:chgData name="Manuela Pichler" userId="07a841c1-49c8-4352-a8c3-3a0d96cf9a08" providerId="ADAL" clId="{0941F924-3F24-4714-990E-9A8C08AAED65}" dt="2020-11-27T13:01:31.377" v="368" actId="47"/>
        <pc:sldMkLst>
          <pc:docMk/>
          <pc:sldMk cId="2008698600" sldId="1630"/>
        </pc:sldMkLst>
      </pc:sldChg>
      <pc:sldChg chg="modSp mod ord modNotes">
        <pc:chgData name="Manuela Pichler" userId="07a841c1-49c8-4352-a8c3-3a0d96cf9a08" providerId="ADAL" clId="{0941F924-3F24-4714-990E-9A8C08AAED65}" dt="2020-11-27T13:13:12.228" v="597" actId="207"/>
        <pc:sldMkLst>
          <pc:docMk/>
          <pc:sldMk cId="509926583" sldId="1690"/>
        </pc:sldMkLst>
        <pc:spChg chg="mod">
          <ac:chgData name="Manuela Pichler" userId="07a841c1-49c8-4352-a8c3-3a0d96cf9a08" providerId="ADAL" clId="{0941F924-3F24-4714-990E-9A8C08AAED65}" dt="2020-11-27T12:53:06.877" v="273"/>
          <ac:spMkLst>
            <pc:docMk/>
            <pc:sldMk cId="509926583" sldId="1690"/>
            <ac:spMk id="14" creationId="{0A1BC9E7-0E0C-4303-ACDB-5E4FBB780FE4}"/>
          </ac:spMkLst>
        </pc:spChg>
        <pc:spChg chg="mod">
          <ac:chgData name="Manuela Pichler" userId="07a841c1-49c8-4352-a8c3-3a0d96cf9a08" providerId="ADAL" clId="{0941F924-3F24-4714-990E-9A8C08AAED65}" dt="2020-11-27T13:13:12.228" v="597" actId="207"/>
          <ac:spMkLst>
            <pc:docMk/>
            <pc:sldMk cId="509926583" sldId="1690"/>
            <ac:spMk id="29" creationId="{905F38F3-7BB0-4EFF-A304-7015DD4AD37D}"/>
          </ac:spMkLst>
        </pc:spChg>
        <pc:spChg chg="mod">
          <ac:chgData name="Manuela Pichler" userId="07a841c1-49c8-4352-a8c3-3a0d96cf9a08" providerId="ADAL" clId="{0941F924-3F24-4714-990E-9A8C08AAED65}" dt="2020-11-27T13:02:26.776" v="372" actId="207"/>
          <ac:spMkLst>
            <pc:docMk/>
            <pc:sldMk cId="509926583" sldId="1690"/>
            <ac:spMk id="85" creationId="{7CF8CD03-55F6-4403-A355-7A4A7F4AE4EF}"/>
          </ac:spMkLst>
        </pc:spChg>
        <pc:spChg chg="mod">
          <ac:chgData name="Manuela Pichler" userId="07a841c1-49c8-4352-a8c3-3a0d96cf9a08" providerId="ADAL" clId="{0941F924-3F24-4714-990E-9A8C08AAED65}" dt="2020-11-27T13:02:26.776" v="372" actId="207"/>
          <ac:spMkLst>
            <pc:docMk/>
            <pc:sldMk cId="509926583" sldId="1690"/>
            <ac:spMk id="100" creationId="{8406507A-CF41-498A-A4DB-ACF7A5B34AB8}"/>
          </ac:spMkLst>
        </pc:spChg>
        <pc:spChg chg="mod">
          <ac:chgData name="Manuela Pichler" userId="07a841c1-49c8-4352-a8c3-3a0d96cf9a08" providerId="ADAL" clId="{0941F924-3F24-4714-990E-9A8C08AAED65}" dt="2020-11-27T13:02:26.776" v="372" actId="207"/>
          <ac:spMkLst>
            <pc:docMk/>
            <pc:sldMk cId="509926583" sldId="1690"/>
            <ac:spMk id="105" creationId="{D7390203-2708-47BA-98C7-3F63CFEA4926}"/>
          </ac:spMkLst>
        </pc:spChg>
        <pc:spChg chg="mod">
          <ac:chgData name="Manuela Pichler" userId="07a841c1-49c8-4352-a8c3-3a0d96cf9a08" providerId="ADAL" clId="{0941F924-3F24-4714-990E-9A8C08AAED65}" dt="2020-11-27T13:02:26.776" v="372" actId="207"/>
          <ac:spMkLst>
            <pc:docMk/>
            <pc:sldMk cId="509926583" sldId="1690"/>
            <ac:spMk id="110" creationId="{A5F44028-A068-468F-9E4D-5BB1BFB7D68C}"/>
          </ac:spMkLst>
        </pc:spChg>
      </pc:sldChg>
      <pc:sldChg chg="modSp mod ord modNotes">
        <pc:chgData name="Manuela Pichler" userId="07a841c1-49c8-4352-a8c3-3a0d96cf9a08" providerId="ADAL" clId="{0941F924-3F24-4714-990E-9A8C08AAED65}" dt="2020-11-27T13:02:41.292" v="392" actId="20577"/>
        <pc:sldMkLst>
          <pc:docMk/>
          <pc:sldMk cId="3925769836" sldId="1691"/>
        </pc:sldMkLst>
        <pc:spChg chg="mod">
          <ac:chgData name="Manuela Pichler" userId="07a841c1-49c8-4352-a8c3-3a0d96cf9a08" providerId="ADAL" clId="{0941F924-3F24-4714-990E-9A8C08AAED65}" dt="2020-11-27T12:53:06.877" v="273"/>
          <ac:spMkLst>
            <pc:docMk/>
            <pc:sldMk cId="3925769836" sldId="1691"/>
            <ac:spMk id="2" creationId="{AB69124B-8E42-474B-AB1E-BA11DB447664}"/>
          </ac:spMkLst>
        </pc:spChg>
        <pc:spChg chg="mod">
          <ac:chgData name="Manuela Pichler" userId="07a841c1-49c8-4352-a8c3-3a0d96cf9a08" providerId="ADAL" clId="{0941F924-3F24-4714-990E-9A8C08AAED65}" dt="2020-11-27T13:02:35.842" v="373" actId="404"/>
          <ac:spMkLst>
            <pc:docMk/>
            <pc:sldMk cId="3925769836" sldId="1691"/>
            <ac:spMk id="15" creationId="{7D108EB0-2FED-45D5-973C-8CDD4317EB4C}"/>
          </ac:spMkLst>
        </pc:spChg>
        <pc:spChg chg="mod">
          <ac:chgData name="Manuela Pichler" userId="07a841c1-49c8-4352-a8c3-3a0d96cf9a08" providerId="ADAL" clId="{0941F924-3F24-4714-990E-9A8C08AAED65}" dt="2020-11-27T12:29:54.123" v="23"/>
          <ac:spMkLst>
            <pc:docMk/>
            <pc:sldMk cId="3925769836" sldId="1691"/>
            <ac:spMk id="22" creationId="{19471DEA-1F71-42BF-B912-C0FF5FC09910}"/>
          </ac:spMkLst>
        </pc:spChg>
        <pc:spChg chg="mod">
          <ac:chgData name="Manuela Pichler" userId="07a841c1-49c8-4352-a8c3-3a0d96cf9a08" providerId="ADAL" clId="{0941F924-3F24-4714-990E-9A8C08AAED65}" dt="2020-11-27T13:02:35.842" v="373" actId="404"/>
          <ac:spMkLst>
            <pc:docMk/>
            <pc:sldMk cId="3925769836" sldId="1691"/>
            <ac:spMk id="50" creationId="{B4B36C1C-7B68-4C3B-AB6F-225F45DA957E}"/>
          </ac:spMkLst>
        </pc:spChg>
        <pc:spChg chg="mod">
          <ac:chgData name="Manuela Pichler" userId="07a841c1-49c8-4352-a8c3-3a0d96cf9a08" providerId="ADAL" clId="{0941F924-3F24-4714-990E-9A8C08AAED65}" dt="2020-11-27T13:02:35.842" v="373" actId="404"/>
          <ac:spMkLst>
            <pc:docMk/>
            <pc:sldMk cId="3925769836" sldId="1691"/>
            <ac:spMk id="51" creationId="{693AC5E9-7DBB-4C90-B816-8F16AA79D11D}"/>
          </ac:spMkLst>
        </pc:spChg>
        <pc:spChg chg="mod">
          <ac:chgData name="Manuela Pichler" userId="07a841c1-49c8-4352-a8c3-3a0d96cf9a08" providerId="ADAL" clId="{0941F924-3F24-4714-990E-9A8C08AAED65}" dt="2020-11-27T13:02:41.292" v="392" actId="20577"/>
          <ac:spMkLst>
            <pc:docMk/>
            <pc:sldMk cId="3925769836" sldId="1691"/>
            <ac:spMk id="52" creationId="{B4BECB40-A16D-4FD9-B4CE-5468C24E765A}"/>
          </ac:spMkLst>
        </pc:spChg>
        <pc:spChg chg="mod">
          <ac:chgData name="Manuela Pichler" userId="07a841c1-49c8-4352-a8c3-3a0d96cf9a08" providerId="ADAL" clId="{0941F924-3F24-4714-990E-9A8C08AAED65}" dt="2020-11-27T13:02:35.842" v="373" actId="404"/>
          <ac:spMkLst>
            <pc:docMk/>
            <pc:sldMk cId="3925769836" sldId="1691"/>
            <ac:spMk id="53" creationId="{92205109-7198-4C8F-85ED-3BF34573FF25}"/>
          </ac:spMkLst>
        </pc:spChg>
        <pc:spChg chg="mod">
          <ac:chgData name="Manuela Pichler" userId="07a841c1-49c8-4352-a8c3-3a0d96cf9a08" providerId="ADAL" clId="{0941F924-3F24-4714-990E-9A8C08AAED65}" dt="2020-11-27T12:29:54.123" v="23"/>
          <ac:spMkLst>
            <pc:docMk/>
            <pc:sldMk cId="3925769836" sldId="1691"/>
            <ac:spMk id="86" creationId="{5AD1E326-5FF6-42DB-93E2-616D353825D0}"/>
          </ac:spMkLst>
        </pc:spChg>
      </pc:sldChg>
      <pc:sldChg chg="modSp mod ord">
        <pc:chgData name="Manuela Pichler" userId="07a841c1-49c8-4352-a8c3-3a0d96cf9a08" providerId="ADAL" clId="{0941F924-3F24-4714-990E-9A8C08AAED65}" dt="2020-11-27T13:07:43.834" v="459" actId="2711"/>
        <pc:sldMkLst>
          <pc:docMk/>
          <pc:sldMk cId="837047409" sldId="10340"/>
        </pc:sldMkLst>
        <pc:spChg chg="mod">
          <ac:chgData name="Manuela Pichler" userId="07a841c1-49c8-4352-a8c3-3a0d96cf9a08" providerId="ADAL" clId="{0941F924-3F24-4714-990E-9A8C08AAED65}" dt="2020-11-27T13:07:43.834" v="459" actId="2711"/>
          <ac:spMkLst>
            <pc:docMk/>
            <pc:sldMk cId="837047409" sldId="10340"/>
            <ac:spMk id="6" creationId="{4479CD6E-05FD-4ADE-A765-8E76ED050E0C}"/>
          </ac:spMkLst>
        </pc:spChg>
      </pc:sldChg>
      <pc:sldChg chg="modSp del">
        <pc:chgData name="Manuela Pichler" userId="07a841c1-49c8-4352-a8c3-3a0d96cf9a08" providerId="ADAL" clId="{0941F924-3F24-4714-990E-9A8C08AAED65}" dt="2020-11-27T12:54:47.687" v="313" actId="47"/>
        <pc:sldMkLst>
          <pc:docMk/>
          <pc:sldMk cId="1096705017" sldId="10341"/>
        </pc:sldMkLst>
        <pc:spChg chg="mod">
          <ac:chgData name="Manuela Pichler" userId="07a841c1-49c8-4352-a8c3-3a0d96cf9a08" providerId="ADAL" clId="{0941F924-3F24-4714-990E-9A8C08AAED65}" dt="2020-11-27T12:53:06.877" v="273"/>
          <ac:spMkLst>
            <pc:docMk/>
            <pc:sldMk cId="1096705017" sldId="10341"/>
            <ac:spMk id="2" creationId="{A39EB322-EC12-4BD9-AEB4-6811504AB9EA}"/>
          </ac:spMkLst>
        </pc:spChg>
      </pc:sldChg>
      <pc:sldChg chg="del">
        <pc:chgData name="Manuela Pichler" userId="07a841c1-49c8-4352-a8c3-3a0d96cf9a08" providerId="ADAL" clId="{0941F924-3F24-4714-990E-9A8C08AAED65}" dt="2020-11-27T12:58:32.741" v="323" actId="47"/>
        <pc:sldMkLst>
          <pc:docMk/>
          <pc:sldMk cId="2935142026" sldId="10344"/>
        </pc:sldMkLst>
      </pc:sldChg>
      <pc:sldChg chg="del">
        <pc:chgData name="Manuela Pichler" userId="07a841c1-49c8-4352-a8c3-3a0d96cf9a08" providerId="ADAL" clId="{0941F924-3F24-4714-990E-9A8C08AAED65}" dt="2020-11-27T12:58:32.741" v="323" actId="47"/>
        <pc:sldMkLst>
          <pc:docMk/>
          <pc:sldMk cId="3597727913" sldId="10345"/>
        </pc:sldMkLst>
      </pc:sldChg>
      <pc:sldChg chg="modSp del mod modNotes">
        <pc:chgData name="Manuela Pichler" userId="07a841c1-49c8-4352-a8c3-3a0d96cf9a08" providerId="ADAL" clId="{0941F924-3F24-4714-990E-9A8C08AAED65}" dt="2020-11-27T12:58:32.741" v="323" actId="47"/>
        <pc:sldMkLst>
          <pc:docMk/>
          <pc:sldMk cId="583547971" sldId="10346"/>
        </pc:sldMkLst>
        <pc:spChg chg="mod">
          <ac:chgData name="Manuela Pichler" userId="07a841c1-49c8-4352-a8c3-3a0d96cf9a08" providerId="ADAL" clId="{0941F924-3F24-4714-990E-9A8C08AAED65}" dt="2020-11-27T12:29:41.948" v="22" actId="403"/>
          <ac:spMkLst>
            <pc:docMk/>
            <pc:sldMk cId="583547971" sldId="10346"/>
            <ac:spMk id="3" creationId="{ADF23D03-ACED-4FE2-8C0B-725379F36E92}"/>
          </ac:spMkLst>
        </pc:spChg>
      </pc:sldChg>
      <pc:sldChg chg="del">
        <pc:chgData name="Manuela Pichler" userId="07a841c1-49c8-4352-a8c3-3a0d96cf9a08" providerId="ADAL" clId="{0941F924-3F24-4714-990E-9A8C08AAED65}" dt="2020-11-27T12:47:54.473" v="215" actId="47"/>
        <pc:sldMkLst>
          <pc:docMk/>
          <pc:sldMk cId="296837309" sldId="10347"/>
        </pc:sldMkLst>
      </pc:sldChg>
      <pc:sldChg chg="modSp ord">
        <pc:chgData name="Manuela Pichler" userId="07a841c1-49c8-4352-a8c3-3a0d96cf9a08" providerId="ADAL" clId="{0941F924-3F24-4714-990E-9A8C08AAED65}" dt="2020-11-27T13:10:00.991" v="518"/>
        <pc:sldMkLst>
          <pc:docMk/>
          <pc:sldMk cId="4073559241" sldId="10353"/>
        </pc:sldMkLst>
        <pc:spChg chg="mod">
          <ac:chgData name="Manuela Pichler" userId="07a841c1-49c8-4352-a8c3-3a0d96cf9a08" providerId="ADAL" clId="{0941F924-3F24-4714-990E-9A8C08AAED65}" dt="2020-11-27T12:53:06.877" v="273"/>
          <ac:spMkLst>
            <pc:docMk/>
            <pc:sldMk cId="4073559241" sldId="10353"/>
            <ac:spMk id="5" creationId="{00000000-0000-0000-0000-000000000000}"/>
          </ac:spMkLst>
        </pc:spChg>
      </pc:sldChg>
      <pc:sldChg chg="modSp mod">
        <pc:chgData name="Manuela Pichler" userId="07a841c1-49c8-4352-a8c3-3a0d96cf9a08" providerId="ADAL" clId="{0941F924-3F24-4714-990E-9A8C08AAED65}" dt="2020-11-27T12:53:06.877" v="273"/>
        <pc:sldMkLst>
          <pc:docMk/>
          <pc:sldMk cId="1664111615" sldId="10359"/>
        </pc:sldMkLst>
        <pc:spChg chg="mod">
          <ac:chgData name="Manuela Pichler" userId="07a841c1-49c8-4352-a8c3-3a0d96cf9a08" providerId="ADAL" clId="{0941F924-3F24-4714-990E-9A8C08AAED65}" dt="2020-11-27T12:40:56.892" v="107" actId="2711"/>
          <ac:spMkLst>
            <pc:docMk/>
            <pc:sldMk cId="1664111615" sldId="10359"/>
            <ac:spMk id="2" creationId="{FF721CD8-9EDD-4930-8371-184C99197C3B}"/>
          </ac:spMkLst>
        </pc:spChg>
        <pc:spChg chg="mod">
          <ac:chgData name="Manuela Pichler" userId="07a841c1-49c8-4352-a8c3-3a0d96cf9a08" providerId="ADAL" clId="{0941F924-3F24-4714-990E-9A8C08AAED65}" dt="2020-11-27T12:53:06.877" v="273"/>
          <ac:spMkLst>
            <pc:docMk/>
            <pc:sldMk cId="1664111615" sldId="10359"/>
            <ac:spMk id="8" creationId="{8AC96E7D-78FD-4792-BFE9-B4FDA763BC75}"/>
          </ac:spMkLst>
        </pc:spChg>
      </pc:sldChg>
      <pc:sldChg chg="del">
        <pc:chgData name="Manuela Pichler" userId="07a841c1-49c8-4352-a8c3-3a0d96cf9a08" providerId="ADAL" clId="{0941F924-3F24-4714-990E-9A8C08AAED65}" dt="2020-11-27T12:38:14.487" v="78" actId="47"/>
        <pc:sldMkLst>
          <pc:docMk/>
          <pc:sldMk cId="4152167628" sldId="10386"/>
        </pc:sldMkLst>
      </pc:sldChg>
      <pc:sldChg chg="delSp modSp mod">
        <pc:chgData name="Manuela Pichler" userId="07a841c1-49c8-4352-a8c3-3a0d96cf9a08" providerId="ADAL" clId="{0941F924-3F24-4714-990E-9A8C08AAED65}" dt="2020-11-27T12:53:06.877" v="273"/>
        <pc:sldMkLst>
          <pc:docMk/>
          <pc:sldMk cId="1752717387" sldId="10389"/>
        </pc:sldMkLst>
        <pc:spChg chg="del">
          <ac:chgData name="Manuela Pichler" userId="07a841c1-49c8-4352-a8c3-3a0d96cf9a08" providerId="ADAL" clId="{0941F924-3F24-4714-990E-9A8C08AAED65}" dt="2020-11-27T12:41:32.809" v="108" actId="478"/>
          <ac:spMkLst>
            <pc:docMk/>
            <pc:sldMk cId="1752717387" sldId="10389"/>
            <ac:spMk id="2" creationId="{13735104-7621-48E7-B029-AB6C53CB7DF6}"/>
          </ac:spMkLst>
        </pc:spChg>
        <pc:spChg chg="mod">
          <ac:chgData name="Manuela Pichler" userId="07a841c1-49c8-4352-a8c3-3a0d96cf9a08" providerId="ADAL" clId="{0941F924-3F24-4714-990E-9A8C08AAED65}" dt="2020-11-27T12:53:06.877" v="273"/>
          <ac:spMkLst>
            <pc:docMk/>
            <pc:sldMk cId="1752717387" sldId="10389"/>
            <ac:spMk id="3" creationId="{9E834371-B7BF-4038-BF5E-FB2F89202BB6}"/>
          </ac:spMkLst>
        </pc:spChg>
        <pc:spChg chg="del">
          <ac:chgData name="Manuela Pichler" userId="07a841c1-49c8-4352-a8c3-3a0d96cf9a08" providerId="ADAL" clId="{0941F924-3F24-4714-990E-9A8C08AAED65}" dt="2020-11-27T12:41:32.809" v="108" actId="478"/>
          <ac:spMkLst>
            <pc:docMk/>
            <pc:sldMk cId="1752717387" sldId="10389"/>
            <ac:spMk id="22" creationId="{D4A13587-CBE4-44CA-B3B0-730EFADB7DD9}"/>
          </ac:spMkLst>
        </pc:spChg>
        <pc:spChg chg="del">
          <ac:chgData name="Manuela Pichler" userId="07a841c1-49c8-4352-a8c3-3a0d96cf9a08" providerId="ADAL" clId="{0941F924-3F24-4714-990E-9A8C08AAED65}" dt="2020-11-27T12:41:32.809" v="108" actId="478"/>
          <ac:spMkLst>
            <pc:docMk/>
            <pc:sldMk cId="1752717387" sldId="10389"/>
            <ac:spMk id="24" creationId="{2FE2CF5D-9AEF-45AA-83E6-FCAEFD615288}"/>
          </ac:spMkLst>
        </pc:spChg>
        <pc:spChg chg="del">
          <ac:chgData name="Manuela Pichler" userId="07a841c1-49c8-4352-a8c3-3a0d96cf9a08" providerId="ADAL" clId="{0941F924-3F24-4714-990E-9A8C08AAED65}" dt="2020-11-27T12:41:32.809" v="108" actId="478"/>
          <ac:spMkLst>
            <pc:docMk/>
            <pc:sldMk cId="1752717387" sldId="10389"/>
            <ac:spMk id="25" creationId="{F6641E00-9E93-413E-A0B5-61C909059DCF}"/>
          </ac:spMkLst>
        </pc:spChg>
        <pc:spChg chg="del">
          <ac:chgData name="Manuela Pichler" userId="07a841c1-49c8-4352-a8c3-3a0d96cf9a08" providerId="ADAL" clId="{0941F924-3F24-4714-990E-9A8C08AAED65}" dt="2020-11-27T12:41:32.809" v="108" actId="478"/>
          <ac:spMkLst>
            <pc:docMk/>
            <pc:sldMk cId="1752717387" sldId="10389"/>
            <ac:spMk id="28" creationId="{494F6301-5C63-4781-AA8E-C1612C7253A0}"/>
          </ac:spMkLst>
        </pc:spChg>
        <pc:spChg chg="del">
          <ac:chgData name="Manuela Pichler" userId="07a841c1-49c8-4352-a8c3-3a0d96cf9a08" providerId="ADAL" clId="{0941F924-3F24-4714-990E-9A8C08AAED65}" dt="2020-11-27T12:41:32.809" v="108" actId="478"/>
          <ac:spMkLst>
            <pc:docMk/>
            <pc:sldMk cId="1752717387" sldId="10389"/>
            <ac:spMk id="30" creationId="{43CB7A17-E75B-4FA2-8C90-793DDBAACC0C}"/>
          </ac:spMkLst>
        </pc:spChg>
        <pc:spChg chg="del">
          <ac:chgData name="Manuela Pichler" userId="07a841c1-49c8-4352-a8c3-3a0d96cf9a08" providerId="ADAL" clId="{0941F924-3F24-4714-990E-9A8C08AAED65}" dt="2020-11-27T12:41:32.809" v="108" actId="478"/>
          <ac:spMkLst>
            <pc:docMk/>
            <pc:sldMk cId="1752717387" sldId="10389"/>
            <ac:spMk id="32" creationId="{674D61C9-6451-4E60-A96E-DE45C2AE26B8}"/>
          </ac:spMkLst>
        </pc:spChg>
        <pc:spChg chg="del">
          <ac:chgData name="Manuela Pichler" userId="07a841c1-49c8-4352-a8c3-3a0d96cf9a08" providerId="ADAL" clId="{0941F924-3F24-4714-990E-9A8C08AAED65}" dt="2020-11-27T12:41:32.809" v="108" actId="478"/>
          <ac:spMkLst>
            <pc:docMk/>
            <pc:sldMk cId="1752717387" sldId="10389"/>
            <ac:spMk id="58" creationId="{AD102C92-6B45-4623-BFCE-040BD0AC3DAC}"/>
          </ac:spMkLst>
        </pc:spChg>
        <pc:cxnChg chg="del mod">
          <ac:chgData name="Manuela Pichler" userId="07a841c1-49c8-4352-a8c3-3a0d96cf9a08" providerId="ADAL" clId="{0941F924-3F24-4714-990E-9A8C08AAED65}" dt="2020-11-27T12:41:32.809" v="108" actId="478"/>
          <ac:cxnSpMkLst>
            <pc:docMk/>
            <pc:sldMk cId="1752717387" sldId="10389"/>
            <ac:cxnSpMk id="26" creationId="{7B391B9C-D7CA-411A-94F6-9B8DB484F57A}"/>
          </ac:cxnSpMkLst>
        </pc:cxnChg>
        <pc:cxnChg chg="del mod">
          <ac:chgData name="Manuela Pichler" userId="07a841c1-49c8-4352-a8c3-3a0d96cf9a08" providerId="ADAL" clId="{0941F924-3F24-4714-990E-9A8C08AAED65}" dt="2020-11-27T12:41:32.809" v="108" actId="478"/>
          <ac:cxnSpMkLst>
            <pc:docMk/>
            <pc:sldMk cId="1752717387" sldId="10389"/>
            <ac:cxnSpMk id="27" creationId="{48FFFE4C-333A-47BD-86D8-DE21A03335EC}"/>
          </ac:cxnSpMkLst>
        </pc:cxnChg>
        <pc:cxnChg chg="del mod">
          <ac:chgData name="Manuela Pichler" userId="07a841c1-49c8-4352-a8c3-3a0d96cf9a08" providerId="ADAL" clId="{0941F924-3F24-4714-990E-9A8C08AAED65}" dt="2020-11-27T12:41:32.809" v="108" actId="478"/>
          <ac:cxnSpMkLst>
            <pc:docMk/>
            <pc:sldMk cId="1752717387" sldId="10389"/>
            <ac:cxnSpMk id="29" creationId="{7A8734C9-5F2B-4F06-BF1D-74E795534241}"/>
          </ac:cxnSpMkLst>
        </pc:cxnChg>
        <pc:cxnChg chg="del mod">
          <ac:chgData name="Manuela Pichler" userId="07a841c1-49c8-4352-a8c3-3a0d96cf9a08" providerId="ADAL" clId="{0941F924-3F24-4714-990E-9A8C08AAED65}" dt="2020-11-27T12:41:32.809" v="108" actId="478"/>
          <ac:cxnSpMkLst>
            <pc:docMk/>
            <pc:sldMk cId="1752717387" sldId="10389"/>
            <ac:cxnSpMk id="31" creationId="{46571779-B90D-4F1A-B01D-6EAB8D86FD5A}"/>
          </ac:cxnSpMkLst>
        </pc:cxnChg>
      </pc:sldChg>
      <pc:sldChg chg="del">
        <pc:chgData name="Manuela Pichler" userId="07a841c1-49c8-4352-a8c3-3a0d96cf9a08" providerId="ADAL" clId="{0941F924-3F24-4714-990E-9A8C08AAED65}" dt="2020-11-27T12:40:10.933" v="99" actId="47"/>
        <pc:sldMkLst>
          <pc:docMk/>
          <pc:sldMk cId="4142831694" sldId="2076136527"/>
        </pc:sldMkLst>
      </pc:sldChg>
      <pc:sldChg chg="modSp add del">
        <pc:chgData name="Manuela Pichler" userId="07a841c1-49c8-4352-a8c3-3a0d96cf9a08" providerId="ADAL" clId="{0941F924-3F24-4714-990E-9A8C08AAED65}" dt="2020-11-27T12:53:06.877" v="273"/>
        <pc:sldMkLst>
          <pc:docMk/>
          <pc:sldMk cId="294016823" sldId="2076137253"/>
        </pc:sldMkLst>
        <pc:spChg chg="mod">
          <ac:chgData name="Manuela Pichler" userId="07a841c1-49c8-4352-a8c3-3a0d96cf9a08" providerId="ADAL" clId="{0941F924-3F24-4714-990E-9A8C08AAED65}" dt="2020-11-27T12:53:06.877" v="273"/>
          <ac:spMkLst>
            <pc:docMk/>
            <pc:sldMk cId="294016823" sldId="2076137253"/>
            <ac:spMk id="6" creationId="{39C766B8-4CD4-4D46-98E2-7630F34D5336}"/>
          </ac:spMkLst>
        </pc:spChg>
      </pc:sldChg>
      <pc:sldChg chg="add del">
        <pc:chgData name="Manuela Pichler" userId="07a841c1-49c8-4352-a8c3-3a0d96cf9a08" providerId="ADAL" clId="{0941F924-3F24-4714-990E-9A8C08AAED65}" dt="2020-11-27T12:52:56.404" v="269"/>
        <pc:sldMkLst>
          <pc:docMk/>
          <pc:sldMk cId="1134095328" sldId="2076137270"/>
        </pc:sldMkLst>
      </pc:sldChg>
      <pc:sldChg chg="addSp delSp modSp add mod modNotes modNotesTx">
        <pc:chgData name="Manuela Pichler" userId="07a841c1-49c8-4352-a8c3-3a0d96cf9a08" providerId="ADAL" clId="{0941F924-3F24-4714-990E-9A8C08AAED65}" dt="2020-11-27T13:11:32.254" v="529" actId="6549"/>
        <pc:sldMkLst>
          <pc:docMk/>
          <pc:sldMk cId="1427191962" sldId="2076137270"/>
        </pc:sldMkLst>
        <pc:spChg chg="mod">
          <ac:chgData name="Manuela Pichler" userId="07a841c1-49c8-4352-a8c3-3a0d96cf9a08" providerId="ADAL" clId="{0941F924-3F24-4714-990E-9A8C08AAED65}" dt="2020-11-27T13:11:22.797" v="527" actId="207"/>
          <ac:spMkLst>
            <pc:docMk/>
            <pc:sldMk cId="1427191962" sldId="2076137270"/>
            <ac:spMk id="9" creationId="{03891473-2788-4A58-A07A-2558DBCBBFBD}"/>
          </ac:spMkLst>
        </pc:spChg>
        <pc:spChg chg="mod">
          <ac:chgData name="Manuela Pichler" userId="07a841c1-49c8-4352-a8c3-3a0d96cf9a08" providerId="ADAL" clId="{0941F924-3F24-4714-990E-9A8C08AAED65}" dt="2020-11-27T13:11:22.797" v="527" actId="207"/>
          <ac:spMkLst>
            <pc:docMk/>
            <pc:sldMk cId="1427191962" sldId="2076137270"/>
            <ac:spMk id="10" creationId="{F410B9CD-E4FE-4701-8D2C-5654CF644E7B}"/>
          </ac:spMkLst>
        </pc:spChg>
        <pc:spChg chg="del">
          <ac:chgData name="Manuela Pichler" userId="07a841c1-49c8-4352-a8c3-3a0d96cf9a08" providerId="ADAL" clId="{0941F924-3F24-4714-990E-9A8C08AAED65}" dt="2020-11-27T12:55:02.562" v="315" actId="478"/>
          <ac:spMkLst>
            <pc:docMk/>
            <pc:sldMk cId="1427191962" sldId="2076137270"/>
            <ac:spMk id="12" creationId="{60368F5E-813F-4257-8EDB-1AC0CA34A89E}"/>
          </ac:spMkLst>
        </pc:spChg>
        <pc:grpChg chg="mod">
          <ac:chgData name="Manuela Pichler" userId="07a841c1-49c8-4352-a8c3-3a0d96cf9a08" providerId="ADAL" clId="{0941F924-3F24-4714-990E-9A8C08AAED65}" dt="2020-11-27T13:11:22.797" v="527" actId="207"/>
          <ac:grpSpMkLst>
            <pc:docMk/>
            <pc:sldMk cId="1427191962" sldId="2076137270"/>
            <ac:grpSpMk id="8" creationId="{39E88BB8-E79C-44FE-A62E-623E5BBBF763}"/>
          </ac:grpSpMkLst>
        </pc:grpChg>
        <pc:picChg chg="add mod">
          <ac:chgData name="Manuela Pichler" userId="07a841c1-49c8-4352-a8c3-3a0d96cf9a08" providerId="ADAL" clId="{0941F924-3F24-4714-990E-9A8C08AAED65}" dt="2020-11-27T12:55:06.269" v="317" actId="1076"/>
          <ac:picMkLst>
            <pc:docMk/>
            <pc:sldMk cId="1427191962" sldId="2076137270"/>
            <ac:picMk id="4" creationId="{0DDD5A9F-902A-4A55-A839-1E9256270BFC}"/>
          </ac:picMkLst>
        </pc:picChg>
        <pc:picChg chg="del">
          <ac:chgData name="Manuela Pichler" userId="07a841c1-49c8-4352-a8c3-3a0d96cf9a08" providerId="ADAL" clId="{0941F924-3F24-4714-990E-9A8C08AAED65}" dt="2020-11-27T12:55:00.490" v="314" actId="478"/>
          <ac:picMkLst>
            <pc:docMk/>
            <pc:sldMk cId="1427191962" sldId="2076137270"/>
            <ac:picMk id="21" creationId="{F8917BB2-EACA-42ED-B59E-1D7AD8B21ADA}"/>
          </ac:picMkLst>
        </pc:picChg>
      </pc:sldChg>
      <pc:sldChg chg="modSp add mod modNotes">
        <pc:chgData name="Manuela Pichler" userId="07a841c1-49c8-4352-a8c3-3a0d96cf9a08" providerId="ADAL" clId="{0941F924-3F24-4714-990E-9A8C08AAED65}" dt="2020-11-27T13:11:26.863" v="528" actId="207"/>
        <pc:sldMkLst>
          <pc:docMk/>
          <pc:sldMk cId="1793801306" sldId="2076137271"/>
        </pc:sldMkLst>
        <pc:spChg chg="mod">
          <ac:chgData name="Manuela Pichler" userId="07a841c1-49c8-4352-a8c3-3a0d96cf9a08" providerId="ADAL" clId="{0941F924-3F24-4714-990E-9A8C08AAED65}" dt="2020-11-27T13:11:26.863" v="528" actId="207"/>
          <ac:spMkLst>
            <pc:docMk/>
            <pc:sldMk cId="1793801306" sldId="2076137271"/>
            <ac:spMk id="29" creationId="{460EE109-0248-4443-B350-ADEB6DC4D9D4}"/>
          </ac:spMkLst>
        </pc:spChg>
        <pc:spChg chg="mod">
          <ac:chgData name="Manuela Pichler" userId="07a841c1-49c8-4352-a8c3-3a0d96cf9a08" providerId="ADAL" clId="{0941F924-3F24-4714-990E-9A8C08AAED65}" dt="2020-11-27T13:11:26.863" v="528" actId="207"/>
          <ac:spMkLst>
            <pc:docMk/>
            <pc:sldMk cId="1793801306" sldId="2076137271"/>
            <ac:spMk id="30" creationId="{09556C8E-E623-4666-A150-13B4900FCAE7}"/>
          </ac:spMkLst>
        </pc:spChg>
        <pc:grpChg chg="mod">
          <ac:chgData name="Manuela Pichler" userId="07a841c1-49c8-4352-a8c3-3a0d96cf9a08" providerId="ADAL" clId="{0941F924-3F24-4714-990E-9A8C08AAED65}" dt="2020-11-27T13:11:26.863" v="528" actId="207"/>
          <ac:grpSpMkLst>
            <pc:docMk/>
            <pc:sldMk cId="1793801306" sldId="2076137271"/>
            <ac:grpSpMk id="28" creationId="{F93A7A14-0151-4A8B-9903-85067580408B}"/>
          </ac:grpSpMkLst>
        </pc:grpChg>
      </pc:sldChg>
      <pc:sldChg chg="add del">
        <pc:chgData name="Manuela Pichler" userId="07a841c1-49c8-4352-a8c3-3a0d96cf9a08" providerId="ADAL" clId="{0941F924-3F24-4714-990E-9A8C08AAED65}" dt="2020-11-27T12:52:56.404" v="269"/>
        <pc:sldMkLst>
          <pc:docMk/>
          <pc:sldMk cId="3256579932" sldId="2076137271"/>
        </pc:sldMkLst>
      </pc:sldChg>
      <pc:sldChg chg="add del">
        <pc:chgData name="Manuela Pichler" userId="07a841c1-49c8-4352-a8c3-3a0d96cf9a08" providerId="ADAL" clId="{0941F924-3F24-4714-990E-9A8C08AAED65}" dt="2020-11-27T12:42:35.797" v="112" actId="47"/>
        <pc:sldMkLst>
          <pc:docMk/>
          <pc:sldMk cId="3057626944" sldId="2076137272"/>
        </pc:sldMkLst>
      </pc:sldChg>
      <pc:sldChg chg="del">
        <pc:chgData name="Manuela Pichler" userId="07a841c1-49c8-4352-a8c3-3a0d96cf9a08" providerId="ADAL" clId="{0941F924-3F24-4714-990E-9A8C08AAED65}" dt="2020-11-27T13:01:31.377" v="368" actId="47"/>
        <pc:sldMkLst>
          <pc:docMk/>
          <pc:sldMk cId="3907366946" sldId="2076137562"/>
        </pc:sldMkLst>
      </pc:sldChg>
      <pc:sldChg chg="del modNotes">
        <pc:chgData name="Manuela Pichler" userId="07a841c1-49c8-4352-a8c3-3a0d96cf9a08" providerId="ADAL" clId="{0941F924-3F24-4714-990E-9A8C08AAED65}" dt="2020-11-27T12:54:46.241" v="311" actId="47"/>
        <pc:sldMkLst>
          <pc:docMk/>
          <pc:sldMk cId="1843051144" sldId="2076137608"/>
        </pc:sldMkLst>
      </pc:sldChg>
      <pc:sldChg chg="add del">
        <pc:chgData name="Manuela Pichler" userId="07a841c1-49c8-4352-a8c3-3a0d96cf9a08" providerId="ADAL" clId="{0941F924-3F24-4714-990E-9A8C08AAED65}" dt="2020-11-27T12:47:08.431" v="213" actId="47"/>
        <pc:sldMkLst>
          <pc:docMk/>
          <pc:sldMk cId="2712140264" sldId="2076137609"/>
        </pc:sldMkLst>
      </pc:sldChg>
      <pc:sldChg chg="modSp del">
        <pc:chgData name="Manuela Pichler" userId="07a841c1-49c8-4352-a8c3-3a0d96cf9a08" providerId="ADAL" clId="{0941F924-3F24-4714-990E-9A8C08AAED65}" dt="2020-11-27T13:01:31.377" v="368" actId="47"/>
        <pc:sldMkLst>
          <pc:docMk/>
          <pc:sldMk cId="61908127" sldId="2076137611"/>
        </pc:sldMkLst>
        <pc:spChg chg="mod">
          <ac:chgData name="Manuela Pichler" userId="07a841c1-49c8-4352-a8c3-3a0d96cf9a08" providerId="ADAL" clId="{0941F924-3F24-4714-990E-9A8C08AAED65}" dt="2020-11-27T12:29:54.123" v="23"/>
          <ac:spMkLst>
            <pc:docMk/>
            <pc:sldMk cId="61908127" sldId="2076137611"/>
            <ac:spMk id="2" creationId="{B1A5EB54-09B3-4D69-ACA1-3B51CC6166D7}"/>
          </ac:spMkLst>
        </pc:spChg>
      </pc:sldChg>
      <pc:sldChg chg="modSp del modNotes">
        <pc:chgData name="Manuela Pichler" userId="07a841c1-49c8-4352-a8c3-3a0d96cf9a08" providerId="ADAL" clId="{0941F924-3F24-4714-990E-9A8C08AAED65}" dt="2020-11-27T13:03:00.422" v="396" actId="47"/>
        <pc:sldMkLst>
          <pc:docMk/>
          <pc:sldMk cId="16295621" sldId="2076137613"/>
        </pc:sldMkLst>
        <pc:spChg chg="mod">
          <ac:chgData name="Manuela Pichler" userId="07a841c1-49c8-4352-a8c3-3a0d96cf9a08" providerId="ADAL" clId="{0941F924-3F24-4714-990E-9A8C08AAED65}" dt="2020-11-27T12:29:54.123" v="23"/>
          <ac:spMkLst>
            <pc:docMk/>
            <pc:sldMk cId="16295621" sldId="2076137613"/>
            <ac:spMk id="11" creationId="{99DAD179-141E-419D-92B7-DC41B1EE0C05}"/>
          </ac:spMkLst>
        </pc:spChg>
        <pc:spChg chg="mod">
          <ac:chgData name="Manuela Pichler" userId="07a841c1-49c8-4352-a8c3-3a0d96cf9a08" providerId="ADAL" clId="{0941F924-3F24-4714-990E-9A8C08AAED65}" dt="2020-11-27T12:30:01.789" v="24"/>
          <ac:spMkLst>
            <pc:docMk/>
            <pc:sldMk cId="16295621" sldId="2076137613"/>
            <ac:spMk id="18" creationId="{D759AA94-8B75-43F4-8023-4C6878BC25F0}"/>
          </ac:spMkLst>
        </pc:spChg>
        <pc:spChg chg="mod">
          <ac:chgData name="Manuela Pichler" userId="07a841c1-49c8-4352-a8c3-3a0d96cf9a08" providerId="ADAL" clId="{0941F924-3F24-4714-990E-9A8C08AAED65}" dt="2020-11-27T12:29:54.123" v="23"/>
          <ac:spMkLst>
            <pc:docMk/>
            <pc:sldMk cId="16295621" sldId="2076137613"/>
            <ac:spMk id="32" creationId="{B0714F59-6474-4488-85C7-2F892570112A}"/>
          </ac:spMkLst>
        </pc:spChg>
        <pc:spChg chg="mod">
          <ac:chgData name="Manuela Pichler" userId="07a841c1-49c8-4352-a8c3-3a0d96cf9a08" providerId="ADAL" clId="{0941F924-3F24-4714-990E-9A8C08AAED65}" dt="2020-11-27T12:29:54.123" v="23"/>
          <ac:spMkLst>
            <pc:docMk/>
            <pc:sldMk cId="16295621" sldId="2076137613"/>
            <ac:spMk id="33" creationId="{92D39E78-89F5-4804-881C-2EE771792F0E}"/>
          </ac:spMkLst>
        </pc:spChg>
        <pc:spChg chg="mod">
          <ac:chgData name="Manuela Pichler" userId="07a841c1-49c8-4352-a8c3-3a0d96cf9a08" providerId="ADAL" clId="{0941F924-3F24-4714-990E-9A8C08AAED65}" dt="2020-11-27T12:29:54.123" v="23"/>
          <ac:spMkLst>
            <pc:docMk/>
            <pc:sldMk cId="16295621" sldId="2076137613"/>
            <ac:spMk id="38" creationId="{7FE0033B-6B4E-4478-B6C7-63891548C3A3}"/>
          </ac:spMkLst>
        </pc:spChg>
        <pc:spChg chg="mod">
          <ac:chgData name="Manuela Pichler" userId="07a841c1-49c8-4352-a8c3-3a0d96cf9a08" providerId="ADAL" clId="{0941F924-3F24-4714-990E-9A8C08AAED65}" dt="2020-11-27T12:29:54.123" v="23"/>
          <ac:spMkLst>
            <pc:docMk/>
            <pc:sldMk cId="16295621" sldId="2076137613"/>
            <ac:spMk id="42" creationId="{81690EC0-D361-4261-B6EC-319BB01227E5}"/>
          </ac:spMkLst>
        </pc:spChg>
      </pc:sldChg>
      <pc:sldChg chg="modSp ord modNotesTx">
        <pc:chgData name="Manuela Pichler" userId="07a841c1-49c8-4352-a8c3-3a0d96cf9a08" providerId="ADAL" clId="{0941F924-3F24-4714-990E-9A8C08AAED65}" dt="2020-11-27T13:03:53.517" v="405" actId="6549"/>
        <pc:sldMkLst>
          <pc:docMk/>
          <pc:sldMk cId="3515977864" sldId="2076137617"/>
        </pc:sldMkLst>
        <pc:spChg chg="mod">
          <ac:chgData name="Manuela Pichler" userId="07a841c1-49c8-4352-a8c3-3a0d96cf9a08" providerId="ADAL" clId="{0941F924-3F24-4714-990E-9A8C08AAED65}" dt="2020-11-27T12:53:06.877" v="273"/>
          <ac:spMkLst>
            <pc:docMk/>
            <pc:sldMk cId="3515977864" sldId="2076137617"/>
            <ac:spMk id="2" creationId="{F2DD6CB0-61AC-472D-AE14-3212B0060D7B}"/>
          </ac:spMkLst>
        </pc:spChg>
      </pc:sldChg>
      <pc:sldChg chg="modSp ord modNotes">
        <pc:chgData name="Manuela Pichler" userId="07a841c1-49c8-4352-a8c3-3a0d96cf9a08" providerId="ADAL" clId="{0941F924-3F24-4714-990E-9A8C08AAED65}" dt="2020-11-27T13:03:29.798" v="402"/>
        <pc:sldMkLst>
          <pc:docMk/>
          <pc:sldMk cId="775731749" sldId="2076137618"/>
        </pc:sldMkLst>
        <pc:spChg chg="mod">
          <ac:chgData name="Manuela Pichler" userId="07a841c1-49c8-4352-a8c3-3a0d96cf9a08" providerId="ADAL" clId="{0941F924-3F24-4714-990E-9A8C08AAED65}" dt="2020-11-27T12:53:06.877" v="273"/>
          <ac:spMkLst>
            <pc:docMk/>
            <pc:sldMk cId="775731749" sldId="2076137618"/>
            <ac:spMk id="2" creationId="{AB69124B-8E42-474B-AB1E-BA11DB447664}"/>
          </ac:spMkLst>
        </pc:spChg>
      </pc:sldChg>
      <pc:sldChg chg="modSp add mod">
        <pc:chgData name="Manuela Pichler" userId="07a841c1-49c8-4352-a8c3-3a0d96cf9a08" providerId="ADAL" clId="{0941F924-3F24-4714-990E-9A8C08AAED65}" dt="2020-11-27T13:13:40.499" v="602" actId="207"/>
        <pc:sldMkLst>
          <pc:docMk/>
          <pc:sldMk cId="1152724275" sldId="2076137622"/>
        </pc:sldMkLst>
        <pc:spChg chg="mod">
          <ac:chgData name="Manuela Pichler" userId="07a841c1-49c8-4352-a8c3-3a0d96cf9a08" providerId="ADAL" clId="{0941F924-3F24-4714-990E-9A8C08AAED65}" dt="2020-11-27T13:13:40.499" v="602" actId="207"/>
          <ac:spMkLst>
            <pc:docMk/>
            <pc:sldMk cId="1152724275" sldId="2076137622"/>
            <ac:spMk id="99" creationId="{2D3CF993-D1B3-409E-93C5-60FD6D485760}"/>
          </ac:spMkLst>
        </pc:spChg>
      </pc:sldChg>
      <pc:sldChg chg="modSp add mod">
        <pc:chgData name="Manuela Pichler" userId="07a841c1-49c8-4352-a8c3-3a0d96cf9a08" providerId="ADAL" clId="{0941F924-3F24-4714-990E-9A8C08AAED65}" dt="2020-11-27T13:13:36.492" v="601" actId="207"/>
        <pc:sldMkLst>
          <pc:docMk/>
          <pc:sldMk cId="2803517050" sldId="2076137624"/>
        </pc:sldMkLst>
        <pc:spChg chg="mod">
          <ac:chgData name="Manuela Pichler" userId="07a841c1-49c8-4352-a8c3-3a0d96cf9a08" providerId="ADAL" clId="{0941F924-3F24-4714-990E-9A8C08AAED65}" dt="2020-11-27T13:13:36.492" v="601" actId="207"/>
          <ac:spMkLst>
            <pc:docMk/>
            <pc:sldMk cId="2803517050" sldId="2076137624"/>
            <ac:spMk id="2" creationId="{C70F6843-0985-4803-A810-7F14F43CE5FE}"/>
          </ac:spMkLst>
        </pc:spChg>
        <pc:spChg chg="mod">
          <ac:chgData name="Manuela Pichler" userId="07a841c1-49c8-4352-a8c3-3a0d96cf9a08" providerId="ADAL" clId="{0941F924-3F24-4714-990E-9A8C08AAED65}" dt="2020-11-27T13:06:24.017" v="440" actId="207"/>
          <ac:spMkLst>
            <pc:docMk/>
            <pc:sldMk cId="2803517050" sldId="2076137624"/>
            <ac:spMk id="12" creationId="{9CE2512A-702D-40E6-BBEC-34CF09124109}"/>
          </ac:spMkLst>
        </pc:spChg>
        <pc:spChg chg="mod">
          <ac:chgData name="Manuela Pichler" userId="07a841c1-49c8-4352-a8c3-3a0d96cf9a08" providerId="ADAL" clId="{0941F924-3F24-4714-990E-9A8C08AAED65}" dt="2020-11-27T13:06:24.017" v="440" actId="207"/>
          <ac:spMkLst>
            <pc:docMk/>
            <pc:sldMk cId="2803517050" sldId="2076137624"/>
            <ac:spMk id="13" creationId="{1A21C49F-E236-4CDC-9D1E-3D6650A94E8E}"/>
          </ac:spMkLst>
        </pc:spChg>
        <pc:spChg chg="mod">
          <ac:chgData name="Manuela Pichler" userId="07a841c1-49c8-4352-a8c3-3a0d96cf9a08" providerId="ADAL" clId="{0941F924-3F24-4714-990E-9A8C08AAED65}" dt="2020-11-27T13:06:24.017" v="440" actId="207"/>
          <ac:spMkLst>
            <pc:docMk/>
            <pc:sldMk cId="2803517050" sldId="2076137624"/>
            <ac:spMk id="22" creationId="{299DB4F4-37BF-4C6B-A42F-11E64856398D}"/>
          </ac:spMkLst>
        </pc:spChg>
        <pc:spChg chg="mod">
          <ac:chgData name="Manuela Pichler" userId="07a841c1-49c8-4352-a8c3-3a0d96cf9a08" providerId="ADAL" clId="{0941F924-3F24-4714-990E-9A8C08AAED65}" dt="2020-11-27T13:06:24.017" v="440" actId="207"/>
          <ac:spMkLst>
            <pc:docMk/>
            <pc:sldMk cId="2803517050" sldId="2076137624"/>
            <ac:spMk id="23" creationId="{2EF1BB70-04DF-4255-B496-A2F1998E031C}"/>
          </ac:spMkLst>
        </pc:spChg>
        <pc:spChg chg="mod">
          <ac:chgData name="Manuela Pichler" userId="07a841c1-49c8-4352-a8c3-3a0d96cf9a08" providerId="ADAL" clId="{0941F924-3F24-4714-990E-9A8C08AAED65}" dt="2020-11-27T13:06:24.017" v="440" actId="207"/>
          <ac:spMkLst>
            <pc:docMk/>
            <pc:sldMk cId="2803517050" sldId="2076137624"/>
            <ac:spMk id="27" creationId="{07ECF258-EAA2-44B1-B7AE-FB0AFF08E0EB}"/>
          </ac:spMkLst>
        </pc:spChg>
        <pc:spChg chg="mod">
          <ac:chgData name="Manuela Pichler" userId="07a841c1-49c8-4352-a8c3-3a0d96cf9a08" providerId="ADAL" clId="{0941F924-3F24-4714-990E-9A8C08AAED65}" dt="2020-11-27T13:06:24.017" v="440" actId="207"/>
          <ac:spMkLst>
            <pc:docMk/>
            <pc:sldMk cId="2803517050" sldId="2076137624"/>
            <ac:spMk id="28" creationId="{7E2C5B2A-74B5-41CD-866F-8238486F1EC6}"/>
          </ac:spMkLst>
        </pc:spChg>
        <pc:spChg chg="mod">
          <ac:chgData name="Manuela Pichler" userId="07a841c1-49c8-4352-a8c3-3a0d96cf9a08" providerId="ADAL" clId="{0941F924-3F24-4714-990E-9A8C08AAED65}" dt="2020-11-27T13:06:24.017" v="440" actId="207"/>
          <ac:spMkLst>
            <pc:docMk/>
            <pc:sldMk cId="2803517050" sldId="2076137624"/>
            <ac:spMk id="29" creationId="{BE007719-D087-4F58-938E-AD62D0F99D26}"/>
          </ac:spMkLst>
        </pc:spChg>
        <pc:spChg chg="mod">
          <ac:chgData name="Manuela Pichler" userId="07a841c1-49c8-4352-a8c3-3a0d96cf9a08" providerId="ADAL" clId="{0941F924-3F24-4714-990E-9A8C08AAED65}" dt="2020-11-27T13:06:24.017" v="440" actId="207"/>
          <ac:spMkLst>
            <pc:docMk/>
            <pc:sldMk cId="2803517050" sldId="2076137624"/>
            <ac:spMk id="31" creationId="{72A49C25-D556-41D0-9BD9-37460851F0CE}"/>
          </ac:spMkLst>
        </pc:spChg>
        <pc:spChg chg="mod">
          <ac:chgData name="Manuela Pichler" userId="07a841c1-49c8-4352-a8c3-3a0d96cf9a08" providerId="ADAL" clId="{0941F924-3F24-4714-990E-9A8C08AAED65}" dt="2020-11-27T13:06:24.017" v="440" actId="207"/>
          <ac:spMkLst>
            <pc:docMk/>
            <pc:sldMk cId="2803517050" sldId="2076137624"/>
            <ac:spMk id="32" creationId="{DC5858D5-134E-43E4-8F70-482E55FDD1D1}"/>
          </ac:spMkLst>
        </pc:spChg>
        <pc:spChg chg="mod">
          <ac:chgData name="Manuela Pichler" userId="07a841c1-49c8-4352-a8c3-3a0d96cf9a08" providerId="ADAL" clId="{0941F924-3F24-4714-990E-9A8C08AAED65}" dt="2020-11-27T13:06:24.017" v="440" actId="207"/>
          <ac:spMkLst>
            <pc:docMk/>
            <pc:sldMk cId="2803517050" sldId="2076137624"/>
            <ac:spMk id="33" creationId="{D233B1F6-A018-4284-90FA-8B967F70C0D7}"/>
          </ac:spMkLst>
        </pc:spChg>
        <pc:grpChg chg="mod">
          <ac:chgData name="Manuela Pichler" userId="07a841c1-49c8-4352-a8c3-3a0d96cf9a08" providerId="ADAL" clId="{0941F924-3F24-4714-990E-9A8C08AAED65}" dt="2020-11-27T13:06:24.017" v="440" actId="207"/>
          <ac:grpSpMkLst>
            <pc:docMk/>
            <pc:sldMk cId="2803517050" sldId="2076137624"/>
            <ac:grpSpMk id="10" creationId="{3AC914DA-4193-4B7F-995D-BD0E1E650DA0}"/>
          </ac:grpSpMkLst>
        </pc:grpChg>
        <pc:grpChg chg="mod">
          <ac:chgData name="Manuela Pichler" userId="07a841c1-49c8-4352-a8c3-3a0d96cf9a08" providerId="ADAL" clId="{0941F924-3F24-4714-990E-9A8C08AAED65}" dt="2020-11-27T13:06:24.017" v="440" actId="207"/>
          <ac:grpSpMkLst>
            <pc:docMk/>
            <pc:sldMk cId="2803517050" sldId="2076137624"/>
            <ac:grpSpMk id="20" creationId="{FA84EDD7-EC41-49AA-82EB-21A6C5378C7D}"/>
          </ac:grpSpMkLst>
        </pc:grpChg>
        <pc:grpChg chg="mod">
          <ac:chgData name="Manuela Pichler" userId="07a841c1-49c8-4352-a8c3-3a0d96cf9a08" providerId="ADAL" clId="{0941F924-3F24-4714-990E-9A8C08AAED65}" dt="2020-11-27T13:06:24.017" v="440" actId="207"/>
          <ac:grpSpMkLst>
            <pc:docMk/>
            <pc:sldMk cId="2803517050" sldId="2076137624"/>
            <ac:grpSpMk id="25" creationId="{D2F0BD98-6DE6-4ECD-9E21-3107F0949929}"/>
          </ac:grpSpMkLst>
        </pc:grpChg>
        <pc:grpChg chg="mod">
          <ac:chgData name="Manuela Pichler" userId="07a841c1-49c8-4352-a8c3-3a0d96cf9a08" providerId="ADAL" clId="{0941F924-3F24-4714-990E-9A8C08AAED65}" dt="2020-11-27T13:06:24.017" v="440" actId="207"/>
          <ac:grpSpMkLst>
            <pc:docMk/>
            <pc:sldMk cId="2803517050" sldId="2076137624"/>
            <ac:grpSpMk id="30" creationId="{FED4AF0E-ED9C-4351-95C0-30170DAEA3AC}"/>
          </ac:grpSpMkLst>
        </pc:grpChg>
        <pc:grpChg chg="mod">
          <ac:chgData name="Manuela Pichler" userId="07a841c1-49c8-4352-a8c3-3a0d96cf9a08" providerId="ADAL" clId="{0941F924-3F24-4714-990E-9A8C08AAED65}" dt="2020-11-27T13:06:24.017" v="440" actId="207"/>
          <ac:grpSpMkLst>
            <pc:docMk/>
            <pc:sldMk cId="2803517050" sldId="2076137624"/>
            <ac:grpSpMk id="38" creationId="{9DA6A549-09E7-4A42-B422-9F6775C8DF38}"/>
          </ac:grpSpMkLst>
        </pc:grpChg>
        <pc:grpChg chg="mod">
          <ac:chgData name="Manuela Pichler" userId="07a841c1-49c8-4352-a8c3-3a0d96cf9a08" providerId="ADAL" clId="{0941F924-3F24-4714-990E-9A8C08AAED65}" dt="2020-11-27T13:06:24.017" v="440" actId="207"/>
          <ac:grpSpMkLst>
            <pc:docMk/>
            <pc:sldMk cId="2803517050" sldId="2076137624"/>
            <ac:grpSpMk id="39" creationId="{56896DCD-6701-4F47-ABC5-8F929440FF98}"/>
          </ac:grpSpMkLst>
        </pc:grpChg>
        <pc:grpChg chg="mod">
          <ac:chgData name="Manuela Pichler" userId="07a841c1-49c8-4352-a8c3-3a0d96cf9a08" providerId="ADAL" clId="{0941F924-3F24-4714-990E-9A8C08AAED65}" dt="2020-11-27T13:06:24.017" v="440" actId="207"/>
          <ac:grpSpMkLst>
            <pc:docMk/>
            <pc:sldMk cId="2803517050" sldId="2076137624"/>
            <ac:grpSpMk id="40" creationId="{3A0D3469-2E92-4D87-BDAD-772D7BAC19EB}"/>
          </ac:grpSpMkLst>
        </pc:grpChg>
        <pc:picChg chg="mod">
          <ac:chgData name="Manuela Pichler" userId="07a841c1-49c8-4352-a8c3-3a0d96cf9a08" providerId="ADAL" clId="{0941F924-3F24-4714-990E-9A8C08AAED65}" dt="2020-11-27T13:06:24.017" v="440" actId="207"/>
          <ac:picMkLst>
            <pc:docMk/>
            <pc:sldMk cId="2803517050" sldId="2076137624"/>
            <ac:picMk id="37" creationId="{81CA0836-ED68-4B50-9B1D-D438263A1033}"/>
          </ac:picMkLst>
        </pc:picChg>
      </pc:sldChg>
      <pc:sldChg chg="add">
        <pc:chgData name="Manuela Pichler" userId="07a841c1-49c8-4352-a8c3-3a0d96cf9a08" providerId="ADAL" clId="{0941F924-3F24-4714-990E-9A8C08AAED65}" dt="2020-11-27T13:05:03.040" v="428"/>
        <pc:sldMkLst>
          <pc:docMk/>
          <pc:sldMk cId="3544644738" sldId="2076137627"/>
        </pc:sldMkLst>
      </pc:sldChg>
      <pc:sldChg chg="ord">
        <pc:chgData name="Manuela Pichler" userId="07a841c1-49c8-4352-a8c3-3a0d96cf9a08" providerId="ADAL" clId="{0941F924-3F24-4714-990E-9A8C08AAED65}" dt="2020-11-27T13:08:08.299" v="495"/>
        <pc:sldMkLst>
          <pc:docMk/>
          <pc:sldMk cId="2430152420" sldId="2076137632"/>
        </pc:sldMkLst>
      </pc:sldChg>
      <pc:sldChg chg="ord">
        <pc:chgData name="Manuela Pichler" userId="07a841c1-49c8-4352-a8c3-3a0d96cf9a08" providerId="ADAL" clId="{0941F924-3F24-4714-990E-9A8C08AAED65}" dt="2020-11-27T13:08:12.100" v="499"/>
        <pc:sldMkLst>
          <pc:docMk/>
          <pc:sldMk cId="1465320343" sldId="2076137633"/>
        </pc:sldMkLst>
      </pc:sldChg>
      <pc:sldChg chg="ord">
        <pc:chgData name="Manuela Pichler" userId="07a841c1-49c8-4352-a8c3-3a0d96cf9a08" providerId="ADAL" clId="{0941F924-3F24-4714-990E-9A8C08AAED65}" dt="2020-11-27T13:08:14.560" v="501"/>
        <pc:sldMkLst>
          <pc:docMk/>
          <pc:sldMk cId="1626968696" sldId="2076137634"/>
        </pc:sldMkLst>
      </pc:sldChg>
      <pc:sldChg chg="modSp del ord">
        <pc:chgData name="Manuela Pichler" userId="07a841c1-49c8-4352-a8c3-3a0d96cf9a08" providerId="ADAL" clId="{0941F924-3F24-4714-990E-9A8C08AAED65}" dt="2020-11-27T13:08:50.888" v="504" actId="47"/>
        <pc:sldMkLst>
          <pc:docMk/>
          <pc:sldMk cId="2688090662" sldId="2076137635"/>
        </pc:sldMkLst>
        <pc:spChg chg="mod">
          <ac:chgData name="Manuela Pichler" userId="07a841c1-49c8-4352-a8c3-3a0d96cf9a08" providerId="ADAL" clId="{0941F924-3F24-4714-990E-9A8C08AAED65}" dt="2020-11-27T12:53:06.877" v="273"/>
          <ac:spMkLst>
            <pc:docMk/>
            <pc:sldMk cId="2688090662" sldId="2076137635"/>
            <ac:spMk id="3" creationId="{00000000-0000-0000-0000-000000000000}"/>
          </ac:spMkLst>
        </pc:spChg>
        <pc:spChg chg="mod">
          <ac:chgData name="Manuela Pichler" userId="07a841c1-49c8-4352-a8c3-3a0d96cf9a08" providerId="ADAL" clId="{0941F924-3F24-4714-990E-9A8C08AAED65}" dt="2020-11-27T12:53:06.877" v="273"/>
          <ac:spMkLst>
            <pc:docMk/>
            <pc:sldMk cId="2688090662" sldId="2076137635"/>
            <ac:spMk id="17" creationId="{6F3E8874-7241-4977-BFF8-2F66A042E4BC}"/>
          </ac:spMkLst>
        </pc:spChg>
        <pc:spChg chg="mod">
          <ac:chgData name="Manuela Pichler" userId="07a841c1-49c8-4352-a8c3-3a0d96cf9a08" providerId="ADAL" clId="{0941F924-3F24-4714-990E-9A8C08AAED65}" dt="2020-11-27T12:53:06.877" v="273"/>
          <ac:spMkLst>
            <pc:docMk/>
            <pc:sldMk cId="2688090662" sldId="2076137635"/>
            <ac:spMk id="21" creationId="{2120C5A9-C830-4263-A0F2-E28031B2A0C0}"/>
          </ac:spMkLst>
        </pc:spChg>
      </pc:sldChg>
      <pc:sldChg chg="modSp mod ord modNotes">
        <pc:chgData name="Manuela Pichler" userId="07a841c1-49c8-4352-a8c3-3a0d96cf9a08" providerId="ADAL" clId="{0941F924-3F24-4714-990E-9A8C08AAED65}" dt="2020-11-27T13:13:17.192" v="598" actId="207"/>
        <pc:sldMkLst>
          <pc:docMk/>
          <pc:sldMk cId="1322682895" sldId="2076137637"/>
        </pc:sldMkLst>
        <pc:spChg chg="mod">
          <ac:chgData name="Manuela Pichler" userId="07a841c1-49c8-4352-a8c3-3a0d96cf9a08" providerId="ADAL" clId="{0941F924-3F24-4714-990E-9A8C08AAED65}" dt="2020-11-27T13:13:17.192" v="598" actId="207"/>
          <ac:spMkLst>
            <pc:docMk/>
            <pc:sldMk cId="1322682895" sldId="2076137637"/>
            <ac:spMk id="67" creationId="{9FAB1C5C-77D8-430B-9742-3103A49C9389}"/>
          </ac:spMkLst>
        </pc:spChg>
      </pc:sldChg>
      <pc:sldChg chg="modSp mod ord modNotes">
        <pc:chgData name="Manuela Pichler" userId="07a841c1-49c8-4352-a8c3-3a0d96cf9a08" providerId="ADAL" clId="{0941F924-3F24-4714-990E-9A8C08AAED65}" dt="2020-11-27T13:13:19.708" v="599" actId="207"/>
        <pc:sldMkLst>
          <pc:docMk/>
          <pc:sldMk cId="341860283" sldId="2076137639"/>
        </pc:sldMkLst>
        <pc:spChg chg="mod">
          <ac:chgData name="Manuela Pichler" userId="07a841c1-49c8-4352-a8c3-3a0d96cf9a08" providerId="ADAL" clId="{0941F924-3F24-4714-990E-9A8C08AAED65}" dt="2020-11-27T12:29:54.123" v="23"/>
          <ac:spMkLst>
            <pc:docMk/>
            <pc:sldMk cId="341860283" sldId="2076137639"/>
            <ac:spMk id="2" creationId="{D18B4E99-0906-4C33-B62A-DA857B90847B}"/>
          </ac:spMkLst>
        </pc:spChg>
        <pc:spChg chg="mod">
          <ac:chgData name="Manuela Pichler" userId="07a841c1-49c8-4352-a8c3-3a0d96cf9a08" providerId="ADAL" clId="{0941F924-3F24-4714-990E-9A8C08AAED65}" dt="2020-11-27T12:30:01.789" v="24"/>
          <ac:spMkLst>
            <pc:docMk/>
            <pc:sldMk cId="341860283" sldId="2076137639"/>
            <ac:spMk id="10" creationId="{38527623-1009-44F0-8E11-57E7D6D987B3}"/>
          </ac:spMkLst>
        </pc:spChg>
        <pc:spChg chg="mod">
          <ac:chgData name="Manuela Pichler" userId="07a841c1-49c8-4352-a8c3-3a0d96cf9a08" providerId="ADAL" clId="{0941F924-3F24-4714-990E-9A8C08AAED65}" dt="2020-11-27T13:13:19.708" v="599" actId="207"/>
          <ac:spMkLst>
            <pc:docMk/>
            <pc:sldMk cId="341860283" sldId="2076137639"/>
            <ac:spMk id="67" creationId="{9FAB1C5C-77D8-430B-9742-3103A49C9389}"/>
          </ac:spMkLst>
        </pc:spChg>
      </pc:sldChg>
      <pc:sldChg chg="modSp ord">
        <pc:chgData name="Manuela Pichler" userId="07a841c1-49c8-4352-a8c3-3a0d96cf9a08" providerId="ADAL" clId="{0941F924-3F24-4714-990E-9A8C08AAED65}" dt="2020-11-27T13:09:29.791" v="512"/>
        <pc:sldMkLst>
          <pc:docMk/>
          <pc:sldMk cId="416079826" sldId="2076137641"/>
        </pc:sldMkLst>
        <pc:spChg chg="mod">
          <ac:chgData name="Manuela Pichler" userId="07a841c1-49c8-4352-a8c3-3a0d96cf9a08" providerId="ADAL" clId="{0941F924-3F24-4714-990E-9A8C08AAED65}" dt="2020-11-27T12:53:06.877" v="273"/>
          <ac:spMkLst>
            <pc:docMk/>
            <pc:sldMk cId="416079826" sldId="2076137641"/>
            <ac:spMk id="3" creationId="{184E0B54-78B2-4DBC-A300-85E1C68A6F86}"/>
          </ac:spMkLst>
        </pc:spChg>
      </pc:sldChg>
      <pc:sldChg chg="del">
        <pc:chgData name="Manuela Pichler" userId="07a841c1-49c8-4352-a8c3-3a0d96cf9a08" providerId="ADAL" clId="{0941F924-3F24-4714-990E-9A8C08AAED65}" dt="2020-11-27T13:09:59.064" v="516" actId="47"/>
        <pc:sldMkLst>
          <pc:docMk/>
          <pc:sldMk cId="1194706639" sldId="2076137642"/>
        </pc:sldMkLst>
      </pc:sldChg>
      <pc:sldChg chg="del">
        <pc:chgData name="Manuela Pichler" userId="07a841c1-49c8-4352-a8c3-3a0d96cf9a08" providerId="ADAL" clId="{0941F924-3F24-4714-990E-9A8C08AAED65}" dt="2020-11-27T13:09:59.064" v="516" actId="47"/>
        <pc:sldMkLst>
          <pc:docMk/>
          <pc:sldMk cId="2474510760" sldId="2076137643"/>
        </pc:sldMkLst>
      </pc:sldChg>
      <pc:sldChg chg="add del">
        <pc:chgData name="Manuela Pichler" userId="07a841c1-49c8-4352-a8c3-3a0d96cf9a08" providerId="ADAL" clId="{0941F924-3F24-4714-990E-9A8C08AAED65}" dt="2020-11-27T12:47:38.444" v="214" actId="47"/>
        <pc:sldMkLst>
          <pc:docMk/>
          <pc:sldMk cId="3642120983" sldId="2076137647"/>
        </pc:sldMkLst>
      </pc:sldChg>
      <pc:sldChg chg="del">
        <pc:chgData name="Manuela Pichler" userId="07a841c1-49c8-4352-a8c3-3a0d96cf9a08" providerId="ADAL" clId="{0941F924-3F24-4714-990E-9A8C08AAED65}" dt="2020-11-27T12:38:09.064" v="76" actId="47"/>
        <pc:sldMkLst>
          <pc:docMk/>
          <pc:sldMk cId="1352860513" sldId="2076137650"/>
        </pc:sldMkLst>
      </pc:sldChg>
      <pc:sldChg chg="modSp add del mod">
        <pc:chgData name="Manuela Pichler" userId="07a841c1-49c8-4352-a8c3-3a0d96cf9a08" providerId="ADAL" clId="{0941F924-3F24-4714-990E-9A8C08AAED65}" dt="2020-11-27T13:11:12.804" v="524" actId="207"/>
        <pc:sldMkLst>
          <pc:docMk/>
          <pc:sldMk cId="4234859191" sldId="2076137652"/>
        </pc:sldMkLst>
        <pc:spChg chg="mod">
          <ac:chgData name="Manuela Pichler" userId="07a841c1-49c8-4352-a8c3-3a0d96cf9a08" providerId="ADAL" clId="{0941F924-3F24-4714-990E-9A8C08AAED65}" dt="2020-11-27T13:11:12.804" v="524" actId="207"/>
          <ac:spMkLst>
            <pc:docMk/>
            <pc:sldMk cId="4234859191" sldId="2076137652"/>
            <ac:spMk id="64" creationId="{50006628-C159-48FF-AAFC-486532D1E677}"/>
          </ac:spMkLst>
        </pc:spChg>
      </pc:sldChg>
      <pc:sldChg chg="del">
        <pc:chgData name="Manuela Pichler" userId="07a841c1-49c8-4352-a8c3-3a0d96cf9a08" providerId="ADAL" clId="{0941F924-3F24-4714-990E-9A8C08AAED65}" dt="2020-11-27T13:01:31.377" v="368" actId="47"/>
        <pc:sldMkLst>
          <pc:docMk/>
          <pc:sldMk cId="2892899978" sldId="2076137653"/>
        </pc:sldMkLst>
      </pc:sldChg>
      <pc:sldChg chg="del">
        <pc:chgData name="Manuela Pichler" userId="07a841c1-49c8-4352-a8c3-3a0d96cf9a08" providerId="ADAL" clId="{0941F924-3F24-4714-990E-9A8C08AAED65}" dt="2020-11-27T13:01:31.377" v="368" actId="47"/>
        <pc:sldMkLst>
          <pc:docMk/>
          <pc:sldMk cId="4081137852" sldId="2076137656"/>
        </pc:sldMkLst>
      </pc:sldChg>
      <pc:sldChg chg="add del">
        <pc:chgData name="Manuela Pichler" userId="07a841c1-49c8-4352-a8c3-3a0d96cf9a08" providerId="ADAL" clId="{0941F924-3F24-4714-990E-9A8C08AAED65}" dt="2020-11-27T12:51:57.368" v="261"/>
        <pc:sldMkLst>
          <pc:docMk/>
          <pc:sldMk cId="168635367" sldId="2076137657"/>
        </pc:sldMkLst>
      </pc:sldChg>
      <pc:sldChg chg="modSp add del mod modNotes">
        <pc:chgData name="Manuela Pichler" userId="07a841c1-49c8-4352-a8c3-3a0d96cf9a08" providerId="ADAL" clId="{0941F924-3F24-4714-990E-9A8C08AAED65}" dt="2020-11-27T13:11:19.481" v="526" actId="207"/>
        <pc:sldMkLst>
          <pc:docMk/>
          <pc:sldMk cId="1542613748" sldId="2076137658"/>
        </pc:sldMkLst>
        <pc:spChg chg="mod">
          <ac:chgData name="Manuela Pichler" userId="07a841c1-49c8-4352-a8c3-3a0d96cf9a08" providerId="ADAL" clId="{0941F924-3F24-4714-990E-9A8C08AAED65}" dt="2020-11-27T13:11:16.021" v="525" actId="207"/>
          <ac:spMkLst>
            <pc:docMk/>
            <pc:sldMk cId="1542613748" sldId="2076137658"/>
            <ac:spMk id="17" creationId="{4AB03C95-CCEA-4189-88D0-F43CC6695674}"/>
          </ac:spMkLst>
        </pc:spChg>
        <pc:spChg chg="mod">
          <ac:chgData name="Manuela Pichler" userId="07a841c1-49c8-4352-a8c3-3a0d96cf9a08" providerId="ADAL" clId="{0941F924-3F24-4714-990E-9A8C08AAED65}" dt="2020-11-27T13:11:16.021" v="525" actId="207"/>
          <ac:spMkLst>
            <pc:docMk/>
            <pc:sldMk cId="1542613748" sldId="2076137658"/>
            <ac:spMk id="18" creationId="{C158B356-E516-41AF-AE67-5CBEE6072EB3}"/>
          </ac:spMkLst>
        </pc:spChg>
        <pc:grpChg chg="mod">
          <ac:chgData name="Manuela Pichler" userId="07a841c1-49c8-4352-a8c3-3a0d96cf9a08" providerId="ADAL" clId="{0941F924-3F24-4714-990E-9A8C08AAED65}" dt="2020-11-27T13:11:16.021" v="525" actId="207"/>
          <ac:grpSpMkLst>
            <pc:docMk/>
            <pc:sldMk cId="1542613748" sldId="2076137658"/>
            <ac:grpSpMk id="5" creationId="{A41356D6-B4CD-4DDA-9FE6-440DFF317AB5}"/>
          </ac:grpSpMkLst>
        </pc:grpChg>
        <pc:graphicFrameChg chg="modGraphic">
          <ac:chgData name="Manuela Pichler" userId="07a841c1-49c8-4352-a8c3-3a0d96cf9a08" providerId="ADAL" clId="{0941F924-3F24-4714-990E-9A8C08AAED65}" dt="2020-11-27T13:11:19.481" v="526" actId="207"/>
          <ac:graphicFrameMkLst>
            <pc:docMk/>
            <pc:sldMk cId="1542613748" sldId="2076137658"/>
            <ac:graphicFrameMk id="6" creationId="{A71CAEC4-1C73-450F-8B9D-DA977901DC2E}"/>
          </ac:graphicFrameMkLst>
        </pc:graphicFrameChg>
      </pc:sldChg>
      <pc:sldChg chg="add">
        <pc:chgData name="Manuela Pichler" userId="07a841c1-49c8-4352-a8c3-3a0d96cf9a08" providerId="ADAL" clId="{0941F924-3F24-4714-990E-9A8C08AAED65}" dt="2020-11-27T13:09:19.875" v="508"/>
        <pc:sldMkLst>
          <pc:docMk/>
          <pc:sldMk cId="2083698042" sldId="2076137668"/>
        </pc:sldMkLst>
      </pc:sldChg>
      <pc:sldChg chg="add">
        <pc:chgData name="Manuela Pichler" userId="07a841c1-49c8-4352-a8c3-3a0d96cf9a08" providerId="ADAL" clId="{0941F924-3F24-4714-990E-9A8C08AAED65}" dt="2020-11-27T12:46:30.026" v="203"/>
        <pc:sldMkLst>
          <pc:docMk/>
          <pc:sldMk cId="3989348292" sldId="2076137674"/>
        </pc:sldMkLst>
      </pc:sldChg>
      <pc:sldChg chg="add del">
        <pc:chgData name="Manuela Pichler" userId="07a841c1-49c8-4352-a8c3-3a0d96cf9a08" providerId="ADAL" clId="{0941F924-3F24-4714-990E-9A8C08AAED65}" dt="2020-11-27T13:00:53.964" v="366"/>
        <pc:sldMkLst>
          <pc:docMk/>
          <pc:sldMk cId="1383211571" sldId="2076137676"/>
        </pc:sldMkLst>
      </pc:sldChg>
      <pc:sldChg chg="add del">
        <pc:chgData name="Manuela Pichler" userId="07a841c1-49c8-4352-a8c3-3a0d96cf9a08" providerId="ADAL" clId="{0941F924-3F24-4714-990E-9A8C08AAED65}" dt="2020-11-27T13:04:38.529" v="427"/>
        <pc:sldMkLst>
          <pc:docMk/>
          <pc:sldMk cId="3761227547" sldId="2076137678"/>
        </pc:sldMkLst>
      </pc:sldChg>
      <pc:sldChg chg="add del mod modShow">
        <pc:chgData name="Manuela Pichler" userId="07a841c1-49c8-4352-a8c3-3a0d96cf9a08" providerId="ADAL" clId="{0941F924-3F24-4714-990E-9A8C08AAED65}" dt="2020-11-27T13:08:01.149" v="492" actId="729"/>
        <pc:sldMkLst>
          <pc:docMk/>
          <pc:sldMk cId="3330015829" sldId="2076137680"/>
        </pc:sldMkLst>
      </pc:sldChg>
      <pc:sldChg chg="add">
        <pc:chgData name="Manuela Pichler" userId="07a841c1-49c8-4352-a8c3-3a0d96cf9a08" providerId="ADAL" clId="{0941F924-3F24-4714-990E-9A8C08AAED65}" dt="2020-11-27T12:42:24.911" v="111"/>
        <pc:sldMkLst>
          <pc:docMk/>
          <pc:sldMk cId="1698660607" sldId="2076137681"/>
        </pc:sldMkLst>
      </pc:sldChg>
      <pc:sldChg chg="modSp add del mod">
        <pc:chgData name="Manuela Pichler" userId="07a841c1-49c8-4352-a8c3-3a0d96cf9a08" providerId="ADAL" clId="{0941F924-3F24-4714-990E-9A8C08AAED65}" dt="2020-11-27T12:49:50.653" v="220" actId="47"/>
        <pc:sldMkLst>
          <pc:docMk/>
          <pc:sldMk cId="494735254" sldId="2076137682"/>
        </pc:sldMkLst>
        <pc:spChg chg="mod">
          <ac:chgData name="Manuela Pichler" userId="07a841c1-49c8-4352-a8c3-3a0d96cf9a08" providerId="ADAL" clId="{0941F924-3F24-4714-990E-9A8C08AAED65}" dt="2020-11-27T12:48:20.005" v="216"/>
          <ac:spMkLst>
            <pc:docMk/>
            <pc:sldMk cId="494735254" sldId="2076137682"/>
            <ac:spMk id="3" creationId="{33E5BC3C-641A-40FA-B08C-4E65518AA331}"/>
          </ac:spMkLst>
        </pc:spChg>
        <pc:spChg chg="mod">
          <ac:chgData name="Manuela Pichler" userId="07a841c1-49c8-4352-a8c3-3a0d96cf9a08" providerId="ADAL" clId="{0941F924-3F24-4714-990E-9A8C08AAED65}" dt="2020-11-27T12:49:25.205" v="219" actId="20577"/>
          <ac:spMkLst>
            <pc:docMk/>
            <pc:sldMk cId="494735254" sldId="2076137682"/>
            <ac:spMk id="13" creationId="{4C93D335-B207-457E-A6F7-61819169CAD9}"/>
          </ac:spMkLst>
        </pc:spChg>
      </pc:sldChg>
      <pc:sldChg chg="add del">
        <pc:chgData name="Manuela Pichler" userId="07a841c1-49c8-4352-a8c3-3a0d96cf9a08" providerId="ADAL" clId="{0941F924-3F24-4714-990E-9A8C08AAED65}" dt="2020-11-27T12:49:50.653" v="220" actId="47"/>
        <pc:sldMkLst>
          <pc:docMk/>
          <pc:sldMk cId="2946235939" sldId="2076137683"/>
        </pc:sldMkLst>
      </pc:sldChg>
      <pc:sldChg chg="add del">
        <pc:chgData name="Manuela Pichler" userId="07a841c1-49c8-4352-a8c3-3a0d96cf9a08" providerId="ADAL" clId="{0941F924-3F24-4714-990E-9A8C08AAED65}" dt="2020-11-27T12:49:50.653" v="220" actId="47"/>
        <pc:sldMkLst>
          <pc:docMk/>
          <pc:sldMk cId="337179601" sldId="2076137684"/>
        </pc:sldMkLst>
      </pc:sldChg>
      <pc:sldChg chg="add del">
        <pc:chgData name="Manuela Pichler" userId="07a841c1-49c8-4352-a8c3-3a0d96cf9a08" providerId="ADAL" clId="{0941F924-3F24-4714-990E-9A8C08AAED65}" dt="2020-11-27T12:49:50.653" v="220" actId="47"/>
        <pc:sldMkLst>
          <pc:docMk/>
          <pc:sldMk cId="3165239143" sldId="2076137685"/>
        </pc:sldMkLst>
      </pc:sldChg>
      <pc:sldChg chg="add del">
        <pc:chgData name="Manuela Pichler" userId="07a841c1-49c8-4352-a8c3-3a0d96cf9a08" providerId="ADAL" clId="{0941F924-3F24-4714-990E-9A8C08AAED65}" dt="2020-11-27T12:49:50.653" v="220" actId="47"/>
        <pc:sldMkLst>
          <pc:docMk/>
          <pc:sldMk cId="1040184031" sldId="2076137686"/>
        </pc:sldMkLst>
      </pc:sldChg>
      <pc:sldChg chg="add del">
        <pc:chgData name="Manuela Pichler" userId="07a841c1-49c8-4352-a8c3-3a0d96cf9a08" providerId="ADAL" clId="{0941F924-3F24-4714-990E-9A8C08AAED65}" dt="2020-11-27T12:51:08.225" v="233" actId="47"/>
        <pc:sldMkLst>
          <pc:docMk/>
          <pc:sldMk cId="1768550632" sldId="2076137687"/>
        </pc:sldMkLst>
      </pc:sldChg>
      <pc:sldChg chg="modSp add del">
        <pc:chgData name="Manuela Pichler" userId="07a841c1-49c8-4352-a8c3-3a0d96cf9a08" providerId="ADAL" clId="{0941F924-3F24-4714-990E-9A8C08AAED65}" dt="2020-11-27T12:51:16.969" v="234" actId="47"/>
        <pc:sldMkLst>
          <pc:docMk/>
          <pc:sldMk cId="1823441579" sldId="2076137688"/>
        </pc:sldMkLst>
        <pc:picChg chg="mod">
          <ac:chgData name="Manuela Pichler" userId="07a841c1-49c8-4352-a8c3-3a0d96cf9a08" providerId="ADAL" clId="{0941F924-3F24-4714-990E-9A8C08AAED65}" dt="2020-11-27T12:50:34.825" v="227"/>
          <ac:picMkLst>
            <pc:docMk/>
            <pc:sldMk cId="1823441579" sldId="2076137688"/>
            <ac:picMk id="18" creationId="{D2A2F5CC-9ABD-406D-B614-6A0536F5D42D}"/>
          </ac:picMkLst>
        </pc:picChg>
      </pc:sldChg>
      <pc:sldChg chg="modSp add mod">
        <pc:chgData name="Manuela Pichler" userId="07a841c1-49c8-4352-a8c3-3a0d96cf9a08" providerId="ADAL" clId="{0941F924-3F24-4714-990E-9A8C08AAED65}" dt="2020-11-27T12:58:28.697" v="322" actId="20577"/>
        <pc:sldMkLst>
          <pc:docMk/>
          <pc:sldMk cId="2987151236" sldId="2076137694"/>
        </pc:sldMkLst>
        <pc:spChg chg="mod">
          <ac:chgData name="Manuela Pichler" userId="07a841c1-49c8-4352-a8c3-3a0d96cf9a08" providerId="ADAL" clId="{0941F924-3F24-4714-990E-9A8C08AAED65}" dt="2020-11-27T12:58:28.697" v="322" actId="20577"/>
          <ac:spMkLst>
            <pc:docMk/>
            <pc:sldMk cId="2987151236" sldId="2076137694"/>
            <ac:spMk id="4" creationId="{DEB25907-A188-4002-A0A2-D8DC8BFAF1FC}"/>
          </ac:spMkLst>
        </pc:spChg>
      </pc:sldChg>
      <pc:sldChg chg="del ord">
        <pc:chgData name="Manuela Pichler" userId="07a841c1-49c8-4352-a8c3-3a0d96cf9a08" providerId="ADAL" clId="{0941F924-3F24-4714-990E-9A8C08AAED65}" dt="2020-11-27T13:07:05.683" v="455" actId="47"/>
        <pc:sldMkLst>
          <pc:docMk/>
          <pc:sldMk cId="1972666926" sldId="2076137784"/>
        </pc:sldMkLst>
      </pc:sldChg>
      <pc:sldChg chg="del">
        <pc:chgData name="Manuela Pichler" userId="07a841c1-49c8-4352-a8c3-3a0d96cf9a08" providerId="ADAL" clId="{0941F924-3F24-4714-990E-9A8C08AAED65}" dt="2020-11-27T12:41:42.091" v="109" actId="47"/>
        <pc:sldMkLst>
          <pc:docMk/>
          <pc:sldMk cId="1703197486" sldId="2076137785"/>
        </pc:sldMkLst>
      </pc:sldChg>
      <pc:sldChg chg="modSp">
        <pc:chgData name="Manuela Pichler" userId="07a841c1-49c8-4352-a8c3-3a0d96cf9a08" providerId="ADAL" clId="{0941F924-3F24-4714-990E-9A8C08AAED65}" dt="2020-11-27T12:48:20.005" v="216"/>
        <pc:sldMkLst>
          <pc:docMk/>
          <pc:sldMk cId="3543312680" sldId="2076137868"/>
        </pc:sldMkLst>
        <pc:spChg chg="mod">
          <ac:chgData name="Manuela Pichler" userId="07a841c1-49c8-4352-a8c3-3a0d96cf9a08" providerId="ADAL" clId="{0941F924-3F24-4714-990E-9A8C08AAED65}" dt="2020-11-27T12:48:20.005" v="216"/>
          <ac:spMkLst>
            <pc:docMk/>
            <pc:sldMk cId="3543312680" sldId="2076137868"/>
            <ac:spMk id="7" creationId="{187D0945-1A96-6644-8AB0-35A8E493A4BE}"/>
          </ac:spMkLst>
        </pc:spChg>
      </pc:sldChg>
      <pc:sldChg chg="del">
        <pc:chgData name="Manuela Pichler" userId="07a841c1-49c8-4352-a8c3-3a0d96cf9a08" providerId="ADAL" clId="{0941F924-3F24-4714-990E-9A8C08AAED65}" dt="2020-11-27T12:39:37.184" v="82" actId="47"/>
        <pc:sldMkLst>
          <pc:docMk/>
          <pc:sldMk cId="1777779370" sldId="2076137869"/>
        </pc:sldMkLst>
      </pc:sldChg>
      <pc:sldChg chg="modSp mod">
        <pc:chgData name="Manuela Pichler" userId="07a841c1-49c8-4352-a8c3-3a0d96cf9a08" providerId="ADAL" clId="{0941F924-3F24-4714-990E-9A8C08AAED65}" dt="2020-11-27T12:53:06.877" v="273"/>
        <pc:sldMkLst>
          <pc:docMk/>
          <pc:sldMk cId="855816101" sldId="2076137876"/>
        </pc:sldMkLst>
        <pc:spChg chg="mod">
          <ac:chgData name="Manuela Pichler" userId="07a841c1-49c8-4352-a8c3-3a0d96cf9a08" providerId="ADAL" clId="{0941F924-3F24-4714-990E-9A8C08AAED65}" dt="2020-11-27T12:53:06.877" v="273"/>
          <ac:spMkLst>
            <pc:docMk/>
            <pc:sldMk cId="855816101" sldId="2076137876"/>
            <ac:spMk id="2" creationId="{81F079E9-1D82-4101-A4DA-7C90B36D58A1}"/>
          </ac:spMkLst>
        </pc:spChg>
        <pc:picChg chg="mod">
          <ac:chgData name="Manuela Pichler" userId="07a841c1-49c8-4352-a8c3-3a0d96cf9a08" providerId="ADAL" clId="{0941F924-3F24-4714-990E-9A8C08AAED65}" dt="2020-11-27T12:52:31.612" v="267" actId="14100"/>
          <ac:picMkLst>
            <pc:docMk/>
            <pc:sldMk cId="855816101" sldId="2076137876"/>
            <ac:picMk id="4" creationId="{2A53AAA5-4BC2-4332-8735-AE395227FA9D}"/>
          </ac:picMkLst>
        </pc:picChg>
      </pc:sldChg>
      <pc:sldChg chg="modSp del">
        <pc:chgData name="Manuela Pichler" userId="07a841c1-49c8-4352-a8c3-3a0d96cf9a08" providerId="ADAL" clId="{0941F924-3F24-4714-990E-9A8C08AAED65}" dt="2020-11-27T13:01:31.377" v="368" actId="47"/>
        <pc:sldMkLst>
          <pc:docMk/>
          <pc:sldMk cId="2162861811" sldId="2076137877"/>
        </pc:sldMkLst>
        <pc:spChg chg="mod">
          <ac:chgData name="Manuela Pichler" userId="07a841c1-49c8-4352-a8c3-3a0d96cf9a08" providerId="ADAL" clId="{0941F924-3F24-4714-990E-9A8C08AAED65}" dt="2020-11-27T12:53:06.877" v="273"/>
          <ac:spMkLst>
            <pc:docMk/>
            <pc:sldMk cId="2162861811" sldId="2076137877"/>
            <ac:spMk id="2" creationId="{81F079E9-1D82-4101-A4DA-7C90B36D58A1}"/>
          </ac:spMkLst>
        </pc:spChg>
      </pc:sldChg>
      <pc:sldChg chg="modSp ord">
        <pc:chgData name="Manuela Pichler" userId="07a841c1-49c8-4352-a8c3-3a0d96cf9a08" providerId="ADAL" clId="{0941F924-3F24-4714-990E-9A8C08AAED65}" dt="2020-11-27T13:04:31.704" v="424"/>
        <pc:sldMkLst>
          <pc:docMk/>
          <pc:sldMk cId="4150057531" sldId="2076137882"/>
        </pc:sldMkLst>
        <pc:spChg chg="mod">
          <ac:chgData name="Manuela Pichler" userId="07a841c1-49c8-4352-a8c3-3a0d96cf9a08" providerId="ADAL" clId="{0941F924-3F24-4714-990E-9A8C08AAED65}" dt="2020-11-27T12:53:06.877" v="273"/>
          <ac:spMkLst>
            <pc:docMk/>
            <pc:sldMk cId="4150057531" sldId="2076137882"/>
            <ac:spMk id="2" creationId="{D96C451D-F6A9-4F48-95AB-DFD37C889C8F}"/>
          </ac:spMkLst>
        </pc:spChg>
        <pc:spChg chg="mod">
          <ac:chgData name="Manuela Pichler" userId="07a841c1-49c8-4352-a8c3-3a0d96cf9a08" providerId="ADAL" clId="{0941F924-3F24-4714-990E-9A8C08AAED65}" dt="2020-11-27T12:48:20.005" v="216"/>
          <ac:spMkLst>
            <pc:docMk/>
            <pc:sldMk cId="4150057531" sldId="2076137882"/>
            <ac:spMk id="3" creationId="{0E1F14AF-B1BD-4117-9C99-3239E7CEF792}"/>
          </ac:spMkLst>
        </pc:spChg>
      </pc:sldChg>
      <pc:sldChg chg="del">
        <pc:chgData name="Manuela Pichler" userId="07a841c1-49c8-4352-a8c3-3a0d96cf9a08" providerId="ADAL" clId="{0941F924-3F24-4714-990E-9A8C08AAED65}" dt="2020-11-27T12:40:23.440" v="103" actId="47"/>
        <pc:sldMkLst>
          <pc:docMk/>
          <pc:sldMk cId="1737721915" sldId="2076137926"/>
        </pc:sldMkLst>
      </pc:sldChg>
      <pc:sldChg chg="modSp">
        <pc:chgData name="Manuela Pichler" userId="07a841c1-49c8-4352-a8c3-3a0d96cf9a08" providerId="ADAL" clId="{0941F924-3F24-4714-990E-9A8C08AAED65}" dt="2020-11-27T12:53:06.877" v="273"/>
        <pc:sldMkLst>
          <pc:docMk/>
          <pc:sldMk cId="1155339065" sldId="2076137928"/>
        </pc:sldMkLst>
        <pc:spChg chg="mod">
          <ac:chgData name="Manuela Pichler" userId="07a841c1-49c8-4352-a8c3-3a0d96cf9a08" providerId="ADAL" clId="{0941F924-3F24-4714-990E-9A8C08AAED65}" dt="2020-11-27T12:53:06.877" v="273"/>
          <ac:spMkLst>
            <pc:docMk/>
            <pc:sldMk cId="1155339065" sldId="2076137928"/>
            <ac:spMk id="2" creationId="{1D35CC2E-2F8E-4D4A-9CB9-93C5529D3DC9}"/>
          </ac:spMkLst>
        </pc:spChg>
      </pc:sldChg>
      <pc:sldChg chg="addSp delSp modSp add mod">
        <pc:chgData name="Manuela Pichler" userId="07a841c1-49c8-4352-a8c3-3a0d96cf9a08" providerId="ADAL" clId="{0941F924-3F24-4714-990E-9A8C08AAED65}" dt="2020-11-27T13:13:00.210" v="595" actId="1076"/>
        <pc:sldMkLst>
          <pc:docMk/>
          <pc:sldMk cId="1380573680" sldId="2076138011"/>
        </pc:sldMkLst>
        <pc:spChg chg="del">
          <ac:chgData name="Manuela Pichler" userId="07a841c1-49c8-4352-a8c3-3a0d96cf9a08" providerId="ADAL" clId="{0941F924-3F24-4714-990E-9A8C08AAED65}" dt="2020-11-27T13:12:40.151" v="571" actId="478"/>
          <ac:spMkLst>
            <pc:docMk/>
            <pc:sldMk cId="1380573680" sldId="2076138011"/>
            <ac:spMk id="2" creationId="{EBF40E33-E87A-433F-B9DB-551A58AC2DB6}"/>
          </ac:spMkLst>
        </pc:spChg>
        <pc:spChg chg="del">
          <ac:chgData name="Manuela Pichler" userId="07a841c1-49c8-4352-a8c3-3a0d96cf9a08" providerId="ADAL" clId="{0941F924-3F24-4714-990E-9A8C08AAED65}" dt="2020-11-27T13:12:46.188" v="591" actId="478"/>
          <ac:spMkLst>
            <pc:docMk/>
            <pc:sldMk cId="1380573680" sldId="2076138011"/>
            <ac:spMk id="3" creationId="{D303B16D-3D55-45DF-BF9D-B68F4145FFAC}"/>
          </ac:spMkLst>
        </pc:spChg>
        <pc:spChg chg="del">
          <ac:chgData name="Manuela Pichler" userId="07a841c1-49c8-4352-a8c3-3a0d96cf9a08" providerId="ADAL" clId="{0941F924-3F24-4714-990E-9A8C08AAED65}" dt="2020-11-27T13:12:47.774" v="592" actId="478"/>
          <ac:spMkLst>
            <pc:docMk/>
            <pc:sldMk cId="1380573680" sldId="2076138011"/>
            <ac:spMk id="4" creationId="{AC8D858F-2E40-43E2-A8F4-C5D40BD318AF}"/>
          </ac:spMkLst>
        </pc:spChg>
        <pc:spChg chg="mod">
          <ac:chgData name="Manuela Pichler" userId="07a841c1-49c8-4352-a8c3-3a0d96cf9a08" providerId="ADAL" clId="{0941F924-3F24-4714-990E-9A8C08AAED65}" dt="2020-11-27T13:12:53.867" v="593" actId="1076"/>
          <ac:spMkLst>
            <pc:docMk/>
            <pc:sldMk cId="1380573680" sldId="2076138011"/>
            <ac:spMk id="5" creationId="{CAF9F0A0-5D15-477E-8BFD-E834194B822B}"/>
          </ac:spMkLst>
        </pc:spChg>
        <pc:spChg chg="add mod">
          <ac:chgData name="Manuela Pichler" userId="07a841c1-49c8-4352-a8c3-3a0d96cf9a08" providerId="ADAL" clId="{0941F924-3F24-4714-990E-9A8C08AAED65}" dt="2020-11-27T13:12:40.151" v="571" actId="478"/>
          <ac:spMkLst>
            <pc:docMk/>
            <pc:sldMk cId="1380573680" sldId="2076138011"/>
            <ac:spMk id="7" creationId="{E7F014EF-CB67-4193-A953-5B8A50D2772D}"/>
          </ac:spMkLst>
        </pc:spChg>
        <pc:spChg chg="mod">
          <ac:chgData name="Manuela Pichler" userId="07a841c1-49c8-4352-a8c3-3a0d96cf9a08" providerId="ADAL" clId="{0941F924-3F24-4714-990E-9A8C08AAED65}" dt="2020-11-27T13:12:40.923" v="572"/>
          <ac:spMkLst>
            <pc:docMk/>
            <pc:sldMk cId="1380573680" sldId="2076138011"/>
            <ac:spMk id="13" creationId="{36C51284-B3BF-48DA-95D1-9A56B2ABB911}"/>
          </ac:spMkLst>
        </pc:spChg>
        <pc:spChg chg="mod">
          <ac:chgData name="Manuela Pichler" userId="07a841c1-49c8-4352-a8c3-3a0d96cf9a08" providerId="ADAL" clId="{0941F924-3F24-4714-990E-9A8C08AAED65}" dt="2020-11-27T13:12:40.923" v="572"/>
          <ac:spMkLst>
            <pc:docMk/>
            <pc:sldMk cId="1380573680" sldId="2076138011"/>
            <ac:spMk id="14" creationId="{31C51517-F206-4DB7-A0E3-4ABE79E6A32A}"/>
          </ac:spMkLst>
        </pc:spChg>
        <pc:spChg chg="add mod">
          <ac:chgData name="Manuela Pichler" userId="07a841c1-49c8-4352-a8c3-3a0d96cf9a08" providerId="ADAL" clId="{0941F924-3F24-4714-990E-9A8C08AAED65}" dt="2020-11-27T13:12:43.831" v="590" actId="20577"/>
          <ac:spMkLst>
            <pc:docMk/>
            <pc:sldMk cId="1380573680" sldId="2076138011"/>
            <ac:spMk id="15" creationId="{D4D0C7DD-EC24-412C-8837-38428C5D8EA0}"/>
          </ac:spMkLst>
        </pc:spChg>
        <pc:grpChg chg="add mod">
          <ac:chgData name="Manuela Pichler" userId="07a841c1-49c8-4352-a8c3-3a0d96cf9a08" providerId="ADAL" clId="{0941F924-3F24-4714-990E-9A8C08AAED65}" dt="2020-11-27T13:12:40.923" v="572"/>
          <ac:grpSpMkLst>
            <pc:docMk/>
            <pc:sldMk cId="1380573680" sldId="2076138011"/>
            <ac:grpSpMk id="12" creationId="{6051B525-9A1E-45A1-B173-58B37044CDA7}"/>
          </ac:grpSpMkLst>
        </pc:grpChg>
        <pc:picChg chg="mod">
          <ac:chgData name="Manuela Pichler" userId="07a841c1-49c8-4352-a8c3-3a0d96cf9a08" providerId="ADAL" clId="{0941F924-3F24-4714-990E-9A8C08AAED65}" dt="2020-11-27T13:12:58.885" v="594" actId="1076"/>
          <ac:picMkLst>
            <pc:docMk/>
            <pc:sldMk cId="1380573680" sldId="2076138011"/>
            <ac:picMk id="33" creationId="{487AAC4A-CF7E-4AC5-8455-733A090FE9EC}"/>
          </ac:picMkLst>
        </pc:picChg>
        <pc:picChg chg="mod">
          <ac:chgData name="Manuela Pichler" userId="07a841c1-49c8-4352-a8c3-3a0d96cf9a08" providerId="ADAL" clId="{0941F924-3F24-4714-990E-9A8C08AAED65}" dt="2020-11-27T13:12:58.885" v="594" actId="1076"/>
          <ac:picMkLst>
            <pc:docMk/>
            <pc:sldMk cId="1380573680" sldId="2076138011"/>
            <ac:picMk id="35" creationId="{7AD3FBF7-B8A1-4AFB-A59B-CE5EB9FADC8D}"/>
          </ac:picMkLst>
        </pc:picChg>
        <pc:picChg chg="mod">
          <ac:chgData name="Manuela Pichler" userId="07a841c1-49c8-4352-a8c3-3a0d96cf9a08" providerId="ADAL" clId="{0941F924-3F24-4714-990E-9A8C08AAED65}" dt="2020-11-27T13:12:58.885" v="594" actId="1076"/>
          <ac:picMkLst>
            <pc:docMk/>
            <pc:sldMk cId="1380573680" sldId="2076138011"/>
            <ac:picMk id="38" creationId="{5764F4A1-D399-4B16-9BDD-48EB149150FF}"/>
          </ac:picMkLst>
        </pc:picChg>
        <pc:picChg chg="mod">
          <ac:chgData name="Manuela Pichler" userId="07a841c1-49c8-4352-a8c3-3a0d96cf9a08" providerId="ADAL" clId="{0941F924-3F24-4714-990E-9A8C08AAED65}" dt="2020-11-27T13:13:00.210" v="595" actId="1076"/>
          <ac:picMkLst>
            <pc:docMk/>
            <pc:sldMk cId="1380573680" sldId="2076138011"/>
            <ac:picMk id="1030" creationId="{0C146594-AADF-40EF-86C1-9FE66D9B7603}"/>
          </ac:picMkLst>
        </pc:picChg>
      </pc:sldChg>
      <pc:sldChg chg="addSp delSp modSp add mod">
        <pc:chgData name="Manuela Pichler" userId="07a841c1-49c8-4352-a8c3-3a0d96cf9a08" providerId="ADAL" clId="{0941F924-3F24-4714-990E-9A8C08AAED65}" dt="2020-11-27T13:12:35.044" v="570" actId="478"/>
        <pc:sldMkLst>
          <pc:docMk/>
          <pc:sldMk cId="1519455477" sldId="2076138019"/>
        </pc:sldMkLst>
        <pc:spChg chg="mod">
          <ac:chgData name="Manuela Pichler" userId="07a841c1-49c8-4352-a8c3-3a0d96cf9a08" providerId="ADAL" clId="{0941F924-3F24-4714-990E-9A8C08AAED65}" dt="2020-11-27T13:12:06.869" v="535" actId="21"/>
          <ac:spMkLst>
            <pc:docMk/>
            <pc:sldMk cId="1519455477" sldId="2076138019"/>
            <ac:spMk id="2" creationId="{EBF40E33-E87A-433F-B9DB-551A58AC2DB6}"/>
          </ac:spMkLst>
        </pc:spChg>
        <pc:spChg chg="add mod">
          <ac:chgData name="Manuela Pichler" userId="07a841c1-49c8-4352-a8c3-3a0d96cf9a08" providerId="ADAL" clId="{0941F924-3F24-4714-990E-9A8C08AAED65}" dt="2020-11-27T13:12:21.201" v="547" actId="404"/>
          <ac:spMkLst>
            <pc:docMk/>
            <pc:sldMk cId="1519455477" sldId="2076138019"/>
            <ac:spMk id="3" creationId="{2397B62A-C1BC-4E68-BF35-E8449264069C}"/>
          </ac:spMkLst>
        </pc:spChg>
        <pc:spChg chg="del">
          <ac:chgData name="Manuela Pichler" userId="07a841c1-49c8-4352-a8c3-3a0d96cf9a08" providerId="ADAL" clId="{0941F924-3F24-4714-990E-9A8C08AAED65}" dt="2020-11-27T13:11:44.767" v="530" actId="478"/>
          <ac:spMkLst>
            <pc:docMk/>
            <pc:sldMk cId="1519455477" sldId="2076138019"/>
            <ac:spMk id="8" creationId="{7ECDF490-C962-48DB-AB40-B48B8CDE3213}"/>
          </ac:spMkLst>
        </pc:spChg>
        <pc:spChg chg="del">
          <ac:chgData name="Manuela Pichler" userId="07a841c1-49c8-4352-a8c3-3a0d96cf9a08" providerId="ADAL" clId="{0941F924-3F24-4714-990E-9A8C08AAED65}" dt="2020-11-27T13:12:35.044" v="570" actId="478"/>
          <ac:spMkLst>
            <pc:docMk/>
            <pc:sldMk cId="1519455477" sldId="2076138019"/>
            <ac:spMk id="9" creationId="{F53AAF41-685F-442A-89E4-4C78D2C30126}"/>
          </ac:spMkLst>
        </pc:spChg>
        <pc:spChg chg="mod">
          <ac:chgData name="Manuela Pichler" userId="07a841c1-49c8-4352-a8c3-3a0d96cf9a08" providerId="ADAL" clId="{0941F924-3F24-4714-990E-9A8C08AAED65}" dt="2020-11-27T13:11:58.800" v="532"/>
          <ac:spMkLst>
            <pc:docMk/>
            <pc:sldMk cId="1519455477" sldId="2076138019"/>
            <ac:spMk id="16" creationId="{2ECD5B59-2E95-4274-8267-120D03C70682}"/>
          </ac:spMkLst>
        </pc:spChg>
        <pc:spChg chg="mod">
          <ac:chgData name="Manuela Pichler" userId="07a841c1-49c8-4352-a8c3-3a0d96cf9a08" providerId="ADAL" clId="{0941F924-3F24-4714-990E-9A8C08AAED65}" dt="2020-11-27T13:11:58.800" v="532"/>
          <ac:spMkLst>
            <pc:docMk/>
            <pc:sldMk cId="1519455477" sldId="2076138019"/>
            <ac:spMk id="17" creationId="{C09E0E5A-3F58-4DD0-9663-4828BF31E5BD}"/>
          </ac:spMkLst>
        </pc:spChg>
        <pc:grpChg chg="add mod">
          <ac:chgData name="Manuela Pichler" userId="07a841c1-49c8-4352-a8c3-3a0d96cf9a08" providerId="ADAL" clId="{0941F924-3F24-4714-990E-9A8C08AAED65}" dt="2020-11-27T13:12:17.623" v="545" actId="1076"/>
          <ac:grpSpMkLst>
            <pc:docMk/>
            <pc:sldMk cId="1519455477" sldId="2076138019"/>
            <ac:grpSpMk id="15" creationId="{73F18B4F-AA7A-4C02-BD5D-C49564F2CFDF}"/>
          </ac:grpSpMkLst>
        </pc:grpChg>
      </pc:sldChg>
      <pc:sldChg chg="addSp delSp modSp add mod">
        <pc:chgData name="Manuela Pichler" userId="07a841c1-49c8-4352-a8c3-3a0d96cf9a08" providerId="ADAL" clId="{0941F924-3F24-4714-990E-9A8C08AAED65}" dt="2020-11-27T13:12:32.953" v="569" actId="478"/>
        <pc:sldMkLst>
          <pc:docMk/>
          <pc:sldMk cId="2722499544" sldId="2076138020"/>
        </pc:sldMkLst>
        <pc:spChg chg="mod">
          <ac:chgData name="Manuela Pichler" userId="07a841c1-49c8-4352-a8c3-3a0d96cf9a08" providerId="ADAL" clId="{0941F924-3F24-4714-990E-9A8C08AAED65}" dt="2020-11-27T13:12:27.468" v="548" actId="6549"/>
          <ac:spMkLst>
            <pc:docMk/>
            <pc:sldMk cId="2722499544" sldId="2076138020"/>
            <ac:spMk id="2" creationId="{EBF40E33-E87A-433F-B9DB-551A58AC2DB6}"/>
          </ac:spMkLst>
        </pc:spChg>
        <pc:spChg chg="del">
          <ac:chgData name="Manuela Pichler" userId="07a841c1-49c8-4352-a8c3-3a0d96cf9a08" providerId="ADAL" clId="{0941F924-3F24-4714-990E-9A8C08AAED65}" dt="2020-11-27T13:11:50.061" v="531" actId="478"/>
          <ac:spMkLst>
            <pc:docMk/>
            <pc:sldMk cId="2722499544" sldId="2076138020"/>
            <ac:spMk id="8" creationId="{7ECDF490-C962-48DB-AB40-B48B8CDE3213}"/>
          </ac:spMkLst>
        </pc:spChg>
        <pc:spChg chg="del">
          <ac:chgData name="Manuela Pichler" userId="07a841c1-49c8-4352-a8c3-3a0d96cf9a08" providerId="ADAL" clId="{0941F924-3F24-4714-990E-9A8C08AAED65}" dt="2020-11-27T13:12:32.953" v="569" actId="478"/>
          <ac:spMkLst>
            <pc:docMk/>
            <pc:sldMk cId="2722499544" sldId="2076138020"/>
            <ac:spMk id="9" creationId="{F53AAF41-685F-442A-89E4-4C78D2C30126}"/>
          </ac:spMkLst>
        </pc:spChg>
        <pc:spChg chg="mod">
          <ac:chgData name="Manuela Pichler" userId="07a841c1-49c8-4352-a8c3-3a0d96cf9a08" providerId="ADAL" clId="{0941F924-3F24-4714-990E-9A8C08AAED65}" dt="2020-11-27T13:12:28.513" v="549"/>
          <ac:spMkLst>
            <pc:docMk/>
            <pc:sldMk cId="2722499544" sldId="2076138020"/>
            <ac:spMk id="16" creationId="{31AF6B47-3C3F-4F72-B1AF-736DEA7D8E0C}"/>
          </ac:spMkLst>
        </pc:spChg>
        <pc:spChg chg="mod">
          <ac:chgData name="Manuela Pichler" userId="07a841c1-49c8-4352-a8c3-3a0d96cf9a08" providerId="ADAL" clId="{0941F924-3F24-4714-990E-9A8C08AAED65}" dt="2020-11-27T13:12:28.513" v="549"/>
          <ac:spMkLst>
            <pc:docMk/>
            <pc:sldMk cId="2722499544" sldId="2076138020"/>
            <ac:spMk id="17" creationId="{3B2FA1E9-D21B-4D78-BDE7-FEBC55592C91}"/>
          </ac:spMkLst>
        </pc:spChg>
        <pc:spChg chg="add mod">
          <ac:chgData name="Manuela Pichler" userId="07a841c1-49c8-4352-a8c3-3a0d96cf9a08" providerId="ADAL" clId="{0941F924-3F24-4714-990E-9A8C08AAED65}" dt="2020-11-27T13:12:31.534" v="568" actId="20577"/>
          <ac:spMkLst>
            <pc:docMk/>
            <pc:sldMk cId="2722499544" sldId="2076138020"/>
            <ac:spMk id="18" creationId="{8E04F060-6885-4AC7-AEC5-FD0CD5B29C57}"/>
          </ac:spMkLst>
        </pc:spChg>
        <pc:grpChg chg="add mod">
          <ac:chgData name="Manuela Pichler" userId="07a841c1-49c8-4352-a8c3-3a0d96cf9a08" providerId="ADAL" clId="{0941F924-3F24-4714-990E-9A8C08AAED65}" dt="2020-11-27T13:12:28.513" v="549"/>
          <ac:grpSpMkLst>
            <pc:docMk/>
            <pc:sldMk cId="2722499544" sldId="2076138020"/>
            <ac:grpSpMk id="13" creationId="{2D5CC9B6-1708-4AE3-A1C8-DAB953035201}"/>
          </ac:grpSpMkLst>
        </pc:grpChg>
      </pc:sldChg>
      <pc:sldChg chg="add">
        <pc:chgData name="Manuela Pichler" userId="07a841c1-49c8-4352-a8c3-3a0d96cf9a08" providerId="ADAL" clId="{0941F924-3F24-4714-990E-9A8C08AAED65}" dt="2020-11-27T12:57:16.115" v="318"/>
        <pc:sldMkLst>
          <pc:docMk/>
          <pc:sldMk cId="4175329520" sldId="2076138021"/>
        </pc:sldMkLst>
      </pc:sldChg>
      <pc:sldChg chg="add del">
        <pc:chgData name="Manuela Pichler" userId="07a841c1-49c8-4352-a8c3-3a0d96cf9a08" providerId="ADAL" clId="{0941F924-3F24-4714-990E-9A8C08AAED65}" dt="2020-11-27T12:39:42.638" v="85"/>
        <pc:sldMkLst>
          <pc:docMk/>
          <pc:sldMk cId="3336041802" sldId="2076138028"/>
        </pc:sldMkLst>
      </pc:sldChg>
      <pc:sldChg chg="modSp add del modNotes">
        <pc:chgData name="Manuela Pichler" userId="07a841c1-49c8-4352-a8c3-3a0d96cf9a08" providerId="ADAL" clId="{0941F924-3F24-4714-990E-9A8C08AAED65}" dt="2020-11-27T12:53:06.877" v="273"/>
        <pc:sldMkLst>
          <pc:docMk/>
          <pc:sldMk cId="611887798" sldId="2076138031"/>
        </pc:sldMkLst>
        <pc:spChg chg="mod">
          <ac:chgData name="Manuela Pichler" userId="07a841c1-49c8-4352-a8c3-3a0d96cf9a08" providerId="ADAL" clId="{0941F924-3F24-4714-990E-9A8C08AAED65}" dt="2020-11-27T12:53:06.877" v="273"/>
          <ac:spMkLst>
            <pc:docMk/>
            <pc:sldMk cId="611887798" sldId="2076138031"/>
            <ac:spMk id="2" creationId="{786E0572-D26F-42A5-A586-C1F5BA9BF6DE}"/>
          </ac:spMkLst>
        </pc:spChg>
      </pc:sldChg>
      <pc:sldChg chg="modSp add mod">
        <pc:chgData name="Manuela Pichler" userId="07a841c1-49c8-4352-a8c3-3a0d96cf9a08" providerId="ADAL" clId="{0941F924-3F24-4714-990E-9A8C08AAED65}" dt="2020-11-27T12:39:55.077" v="98" actId="20577"/>
        <pc:sldMkLst>
          <pc:docMk/>
          <pc:sldMk cId="4087275967" sldId="2076138080"/>
        </pc:sldMkLst>
        <pc:spChg chg="mod">
          <ac:chgData name="Manuela Pichler" userId="07a841c1-49c8-4352-a8c3-3a0d96cf9a08" providerId="ADAL" clId="{0941F924-3F24-4714-990E-9A8C08AAED65}" dt="2020-11-27T12:39:55.077" v="98" actId="20577"/>
          <ac:spMkLst>
            <pc:docMk/>
            <pc:sldMk cId="4087275967" sldId="2076138080"/>
            <ac:spMk id="192" creationId="{5E1E1D82-7BAB-463D-81F6-0CE31122D85C}"/>
          </ac:spMkLst>
        </pc:spChg>
      </pc:sldChg>
      <pc:sldChg chg="modSp mod ord">
        <pc:chgData name="Manuela Pichler" userId="07a841c1-49c8-4352-a8c3-3a0d96cf9a08" providerId="ADAL" clId="{0941F924-3F24-4714-990E-9A8C08AAED65}" dt="2020-11-27T13:13:33.193" v="600" actId="207"/>
        <pc:sldMkLst>
          <pc:docMk/>
          <pc:sldMk cId="2133725747" sldId="2076138615"/>
        </pc:sldMkLst>
        <pc:spChg chg="mod">
          <ac:chgData name="Manuela Pichler" userId="07a841c1-49c8-4352-a8c3-3a0d96cf9a08" providerId="ADAL" clId="{0941F924-3F24-4714-990E-9A8C08AAED65}" dt="2020-11-27T13:13:33.193" v="600" actId="207"/>
          <ac:spMkLst>
            <pc:docMk/>
            <pc:sldMk cId="2133725747" sldId="2076138615"/>
            <ac:spMk id="9" creationId="{524214CE-99F5-4102-8FA3-DB12099E92FA}"/>
          </ac:spMkLst>
        </pc:spChg>
        <pc:spChg chg="mod">
          <ac:chgData name="Manuela Pichler" userId="07a841c1-49c8-4352-a8c3-3a0d96cf9a08" providerId="ADAL" clId="{0941F924-3F24-4714-990E-9A8C08AAED65}" dt="2020-11-27T13:05:45.605" v="433" actId="1076"/>
          <ac:spMkLst>
            <pc:docMk/>
            <pc:sldMk cId="2133725747" sldId="2076138615"/>
            <ac:spMk id="10" creationId="{779B4CF8-844D-4F39-9B62-528367899A56}"/>
          </ac:spMkLst>
        </pc:spChg>
        <pc:spChg chg="mod">
          <ac:chgData name="Manuela Pichler" userId="07a841c1-49c8-4352-a8c3-3a0d96cf9a08" providerId="ADAL" clId="{0941F924-3F24-4714-990E-9A8C08AAED65}" dt="2020-11-27T13:05:45.605" v="433" actId="1076"/>
          <ac:spMkLst>
            <pc:docMk/>
            <pc:sldMk cId="2133725747" sldId="2076138615"/>
            <ac:spMk id="11" creationId="{577CFAF5-0ECD-4EF5-BE27-CB7D6578909C}"/>
          </ac:spMkLst>
        </pc:spChg>
      </pc:sldChg>
      <pc:sldChg chg="modSp mod ord">
        <pc:chgData name="Manuela Pichler" userId="07a841c1-49c8-4352-a8c3-3a0d96cf9a08" providerId="ADAL" clId="{0941F924-3F24-4714-990E-9A8C08AAED65}" dt="2020-11-27T13:13:58.435" v="603" actId="1076"/>
        <pc:sldMkLst>
          <pc:docMk/>
          <pc:sldMk cId="812663480" sldId="2076138624"/>
        </pc:sldMkLst>
        <pc:spChg chg="mod">
          <ac:chgData name="Manuela Pichler" userId="07a841c1-49c8-4352-a8c3-3a0d96cf9a08" providerId="ADAL" clId="{0941F924-3F24-4714-990E-9A8C08AAED65}" dt="2020-11-27T13:13:58.435" v="603" actId="1076"/>
          <ac:spMkLst>
            <pc:docMk/>
            <pc:sldMk cId="812663480" sldId="2076138624"/>
            <ac:spMk id="20" creationId="{A02D4662-CC90-48E0-A134-1DBFC0E07F6D}"/>
          </ac:spMkLst>
        </pc:spChg>
      </pc:sldChg>
      <pc:sldChg chg="modSp ord">
        <pc:chgData name="Manuela Pichler" userId="07a841c1-49c8-4352-a8c3-3a0d96cf9a08" providerId="ADAL" clId="{0941F924-3F24-4714-990E-9A8C08AAED65}" dt="2020-11-27T13:06:52.235" v="450"/>
        <pc:sldMkLst>
          <pc:docMk/>
          <pc:sldMk cId="1741268550" sldId="2076138626"/>
        </pc:sldMkLst>
        <pc:spChg chg="mod">
          <ac:chgData name="Manuela Pichler" userId="07a841c1-49c8-4352-a8c3-3a0d96cf9a08" providerId="ADAL" clId="{0941F924-3F24-4714-990E-9A8C08AAED65}" dt="2020-11-27T12:53:06.877" v="273"/>
          <ac:spMkLst>
            <pc:docMk/>
            <pc:sldMk cId="1741268550" sldId="2076138626"/>
            <ac:spMk id="5" creationId="{684A4BEC-D2F5-406C-B181-4B0FD433C475}"/>
          </ac:spMkLst>
        </pc:spChg>
      </pc:sldChg>
      <pc:sldChg chg="modSp del modNotes">
        <pc:chgData name="Manuela Pichler" userId="07a841c1-49c8-4352-a8c3-3a0d96cf9a08" providerId="ADAL" clId="{0941F924-3F24-4714-990E-9A8C08AAED65}" dt="2020-11-27T13:01:23.838" v="367" actId="47"/>
        <pc:sldMkLst>
          <pc:docMk/>
          <pc:sldMk cId="2602694018" sldId="2076138627"/>
        </pc:sldMkLst>
        <pc:spChg chg="mod">
          <ac:chgData name="Manuela Pichler" userId="07a841c1-49c8-4352-a8c3-3a0d96cf9a08" providerId="ADAL" clId="{0941F924-3F24-4714-990E-9A8C08AAED65}" dt="2020-11-27T12:30:01.789" v="24"/>
          <ac:spMkLst>
            <pc:docMk/>
            <pc:sldMk cId="2602694018" sldId="2076138627"/>
            <ac:spMk id="99" creationId="{5E4A5CF8-A721-44DE-847F-A4BB8252716E}"/>
          </ac:spMkLst>
        </pc:spChg>
        <pc:spChg chg="mod">
          <ac:chgData name="Manuela Pichler" userId="07a841c1-49c8-4352-a8c3-3a0d96cf9a08" providerId="ADAL" clId="{0941F924-3F24-4714-990E-9A8C08AAED65}" dt="2020-11-27T12:30:01.789" v="24"/>
          <ac:spMkLst>
            <pc:docMk/>
            <pc:sldMk cId="2602694018" sldId="2076138627"/>
            <ac:spMk id="229" creationId="{51EEFCC5-269A-449C-BD12-AA29117BC647}"/>
          </ac:spMkLst>
        </pc:spChg>
      </pc:sldChg>
      <pc:sldChg chg="del">
        <pc:chgData name="Manuela Pichler" userId="07a841c1-49c8-4352-a8c3-3a0d96cf9a08" providerId="ADAL" clId="{0941F924-3F24-4714-990E-9A8C08AAED65}" dt="2020-11-27T12:50:07.882" v="221" actId="47"/>
        <pc:sldMkLst>
          <pc:docMk/>
          <pc:sldMk cId="1586028462" sldId="2076138628"/>
        </pc:sldMkLst>
      </pc:sldChg>
      <pc:sldChg chg="del">
        <pc:chgData name="Manuela Pichler" userId="07a841c1-49c8-4352-a8c3-3a0d96cf9a08" providerId="ADAL" clId="{0941F924-3F24-4714-990E-9A8C08AAED65}" dt="2020-11-27T13:02:59.830" v="395" actId="47"/>
        <pc:sldMkLst>
          <pc:docMk/>
          <pc:sldMk cId="864881438" sldId="2076138629"/>
        </pc:sldMkLst>
      </pc:sldChg>
      <pc:sldChg chg="del">
        <pc:chgData name="Manuela Pichler" userId="07a841c1-49c8-4352-a8c3-3a0d96cf9a08" providerId="ADAL" clId="{0941F924-3F24-4714-990E-9A8C08AAED65}" dt="2020-11-27T13:03:31.474" v="403" actId="47"/>
        <pc:sldMkLst>
          <pc:docMk/>
          <pc:sldMk cId="1690566189" sldId="2076138630"/>
        </pc:sldMkLst>
      </pc:sldChg>
      <pc:sldChg chg="del">
        <pc:chgData name="Manuela Pichler" userId="07a841c1-49c8-4352-a8c3-3a0d96cf9a08" providerId="ADAL" clId="{0941F924-3F24-4714-990E-9A8C08AAED65}" dt="2020-11-27T13:04:25.966" v="420" actId="47"/>
        <pc:sldMkLst>
          <pc:docMk/>
          <pc:sldMk cId="2319822789" sldId="2076138631"/>
        </pc:sldMkLst>
      </pc:sldChg>
      <pc:sldChg chg="modSp mod ord">
        <pc:chgData name="Manuela Pichler" userId="07a841c1-49c8-4352-a8c3-3a0d96cf9a08" providerId="ADAL" clId="{0941F924-3F24-4714-990E-9A8C08AAED65}" dt="2020-11-27T13:06:40.846" v="444" actId="207"/>
        <pc:sldMkLst>
          <pc:docMk/>
          <pc:sldMk cId="2414614688" sldId="2076138632"/>
        </pc:sldMkLst>
        <pc:spChg chg="mod">
          <ac:chgData name="Manuela Pichler" userId="07a841c1-49c8-4352-a8c3-3a0d96cf9a08" providerId="ADAL" clId="{0941F924-3F24-4714-990E-9A8C08AAED65}" dt="2020-11-27T13:06:40.846" v="444" actId="207"/>
          <ac:spMkLst>
            <pc:docMk/>
            <pc:sldMk cId="2414614688" sldId="2076138632"/>
            <ac:spMk id="22" creationId="{312A4120-5268-4B66-B440-B185FF4998D0}"/>
          </ac:spMkLst>
        </pc:spChg>
      </pc:sldChg>
      <pc:sldChg chg="modSp del">
        <pc:chgData name="Manuela Pichler" userId="07a841c1-49c8-4352-a8c3-3a0d96cf9a08" providerId="ADAL" clId="{0941F924-3F24-4714-990E-9A8C08AAED65}" dt="2020-11-27T13:08:04.328" v="493" actId="47"/>
        <pc:sldMkLst>
          <pc:docMk/>
          <pc:sldMk cId="4048121067" sldId="2076138633"/>
        </pc:sldMkLst>
        <pc:spChg chg="mod">
          <ac:chgData name="Manuela Pichler" userId="07a841c1-49c8-4352-a8c3-3a0d96cf9a08" providerId="ADAL" clId="{0941F924-3F24-4714-990E-9A8C08AAED65}" dt="2020-11-27T12:30:01.789" v="24"/>
          <ac:spMkLst>
            <pc:docMk/>
            <pc:sldMk cId="4048121067" sldId="2076138633"/>
            <ac:spMk id="5" creationId="{64FDF255-981C-45D8-A3C9-16A5CF1F933C}"/>
          </ac:spMkLst>
        </pc:spChg>
      </pc:sldChg>
      <pc:sldChg chg="del">
        <pc:chgData name="Manuela Pichler" userId="07a841c1-49c8-4352-a8c3-3a0d96cf9a08" providerId="ADAL" clId="{0941F924-3F24-4714-990E-9A8C08AAED65}" dt="2020-11-27T13:09:31.975" v="513" actId="47"/>
        <pc:sldMkLst>
          <pc:docMk/>
          <pc:sldMk cId="2152317331" sldId="2076138634"/>
        </pc:sldMkLst>
      </pc:sldChg>
      <pc:sldChg chg="modSp mod">
        <pc:chgData name="Manuela Pichler" userId="07a841c1-49c8-4352-a8c3-3a0d96cf9a08" providerId="ADAL" clId="{0941F924-3F24-4714-990E-9A8C08AAED65}" dt="2020-11-27T13:10:42.033" v="523" actId="207"/>
        <pc:sldMkLst>
          <pc:docMk/>
          <pc:sldMk cId="2349198799" sldId="2076138635"/>
        </pc:sldMkLst>
        <pc:spChg chg="mod">
          <ac:chgData name="Manuela Pichler" userId="07a841c1-49c8-4352-a8c3-3a0d96cf9a08" providerId="ADAL" clId="{0941F924-3F24-4714-990E-9A8C08AAED65}" dt="2020-11-27T12:53:06.877" v="273"/>
          <ac:spMkLst>
            <pc:docMk/>
            <pc:sldMk cId="2349198799" sldId="2076138635"/>
            <ac:spMk id="2" creationId="{4E029936-1927-4845-B3E1-DE4879B6CB41}"/>
          </ac:spMkLst>
        </pc:spChg>
        <pc:spChg chg="mod">
          <ac:chgData name="Manuela Pichler" userId="07a841c1-49c8-4352-a8c3-3a0d96cf9a08" providerId="ADAL" clId="{0941F924-3F24-4714-990E-9A8C08AAED65}" dt="2020-11-27T12:37:42.007" v="62" actId="1076"/>
          <ac:spMkLst>
            <pc:docMk/>
            <pc:sldMk cId="2349198799" sldId="2076138635"/>
            <ac:spMk id="23" creationId="{1D6E6C39-E6F3-46C3-B9B8-13522DBE1DFB}"/>
          </ac:spMkLst>
        </pc:spChg>
        <pc:grpChg chg="mod">
          <ac:chgData name="Manuela Pichler" userId="07a841c1-49c8-4352-a8c3-3a0d96cf9a08" providerId="ADAL" clId="{0941F924-3F24-4714-990E-9A8C08AAED65}" dt="2020-11-27T12:37:37.219" v="61" actId="1076"/>
          <ac:grpSpMkLst>
            <pc:docMk/>
            <pc:sldMk cId="2349198799" sldId="2076138635"/>
            <ac:grpSpMk id="17" creationId="{9FC65C4C-D45F-4347-A68A-7535F4FEBEA1}"/>
          </ac:grpSpMkLst>
        </pc:grpChg>
        <pc:grpChg chg="mod">
          <ac:chgData name="Manuela Pichler" userId="07a841c1-49c8-4352-a8c3-3a0d96cf9a08" providerId="ADAL" clId="{0941F924-3F24-4714-990E-9A8C08AAED65}" dt="2020-11-27T12:37:21.652" v="58" actId="1076"/>
          <ac:grpSpMkLst>
            <pc:docMk/>
            <pc:sldMk cId="2349198799" sldId="2076138635"/>
            <ac:grpSpMk id="21" creationId="{44BCF807-BA1D-4DAA-94A6-47BA89F11BCD}"/>
          </ac:grpSpMkLst>
        </pc:grpChg>
        <pc:graphicFrameChg chg="mod modGraphic">
          <ac:chgData name="Manuela Pichler" userId="07a841c1-49c8-4352-a8c3-3a0d96cf9a08" providerId="ADAL" clId="{0941F924-3F24-4714-990E-9A8C08AAED65}" dt="2020-11-27T12:38:04.542" v="75" actId="20577"/>
          <ac:graphicFrameMkLst>
            <pc:docMk/>
            <pc:sldMk cId="2349198799" sldId="2076138635"/>
            <ac:graphicFrameMk id="3" creationId="{BE58F067-D2F9-4AA3-B3C9-81DC33F10AD9}"/>
          </ac:graphicFrameMkLst>
        </pc:graphicFrameChg>
        <pc:graphicFrameChg chg="mod">
          <ac:chgData name="Manuela Pichler" userId="07a841c1-49c8-4352-a8c3-3a0d96cf9a08" providerId="ADAL" clId="{0941F924-3F24-4714-990E-9A8C08AAED65}" dt="2020-11-27T13:10:42.033" v="523" actId="207"/>
          <ac:graphicFrameMkLst>
            <pc:docMk/>
            <pc:sldMk cId="2349198799" sldId="2076138635"/>
            <ac:graphicFrameMk id="8" creationId="{BDF76376-96FF-425B-AD02-C9788E410B4C}"/>
          </ac:graphicFrameMkLst>
        </pc:graphicFrameChg>
      </pc:sldChg>
      <pc:sldChg chg="modSp ord">
        <pc:chgData name="Manuela Pichler" userId="07a841c1-49c8-4352-a8c3-3a0d96cf9a08" providerId="ADAL" clId="{0941F924-3F24-4714-990E-9A8C08AAED65}" dt="2020-11-27T13:07:03.018" v="454"/>
        <pc:sldMkLst>
          <pc:docMk/>
          <pc:sldMk cId="949375952" sldId="2076138636"/>
        </pc:sldMkLst>
        <pc:spChg chg="mod">
          <ac:chgData name="Manuela Pichler" userId="07a841c1-49c8-4352-a8c3-3a0d96cf9a08" providerId="ADAL" clId="{0941F924-3F24-4714-990E-9A8C08AAED65}" dt="2020-11-27T12:53:06.877" v="273"/>
          <ac:spMkLst>
            <pc:docMk/>
            <pc:sldMk cId="949375952" sldId="2076138636"/>
            <ac:spMk id="2" creationId="{348AD2B9-CC8C-4940-850B-44B8D1D007D7}"/>
          </ac:spMkLst>
        </pc:spChg>
      </pc:sldChg>
      <pc:sldChg chg="modSp add mod">
        <pc:chgData name="Manuela Pichler" userId="07a841c1-49c8-4352-a8c3-3a0d96cf9a08" providerId="ADAL" clId="{0941F924-3F24-4714-990E-9A8C08AAED65}" dt="2020-11-27T12:53:06.877" v="273"/>
        <pc:sldMkLst>
          <pc:docMk/>
          <pc:sldMk cId="2025577078" sldId="2076138637"/>
        </pc:sldMkLst>
        <pc:spChg chg="mod">
          <ac:chgData name="Manuela Pichler" userId="07a841c1-49c8-4352-a8c3-3a0d96cf9a08" providerId="ADAL" clId="{0941F924-3F24-4714-990E-9A8C08AAED65}" dt="2020-11-27T12:53:06.877" v="273"/>
          <ac:spMkLst>
            <pc:docMk/>
            <pc:sldMk cId="2025577078" sldId="2076138637"/>
            <ac:spMk id="2" creationId="{4E029936-1927-4845-B3E1-DE4879B6CB41}"/>
          </ac:spMkLst>
        </pc:spChg>
        <pc:graphicFrameChg chg="mod">
          <ac:chgData name="Manuela Pichler" userId="07a841c1-49c8-4352-a8c3-3a0d96cf9a08" providerId="ADAL" clId="{0941F924-3F24-4714-990E-9A8C08AAED65}" dt="2020-11-27T12:38:31.293" v="81" actId="207"/>
          <ac:graphicFrameMkLst>
            <pc:docMk/>
            <pc:sldMk cId="2025577078" sldId="2076138637"/>
            <ac:graphicFrameMk id="8" creationId="{BDF76376-96FF-425B-AD02-C9788E410B4C}"/>
          </ac:graphicFrameMkLst>
        </pc:graphicFrameChg>
      </pc:sldChg>
      <pc:sldChg chg="add">
        <pc:chgData name="Manuela Pichler" userId="07a841c1-49c8-4352-a8c3-3a0d96cf9a08" providerId="ADAL" clId="{0941F924-3F24-4714-990E-9A8C08AAED65}" dt="2020-11-27T12:42:24.911" v="111"/>
        <pc:sldMkLst>
          <pc:docMk/>
          <pc:sldMk cId="3897351946" sldId="2076138638"/>
        </pc:sldMkLst>
      </pc:sldChg>
      <pc:sldChg chg="new del">
        <pc:chgData name="Manuela Pichler" userId="07a841c1-49c8-4352-a8c3-3a0d96cf9a08" providerId="ADAL" clId="{0941F924-3F24-4714-990E-9A8C08AAED65}" dt="2020-11-27T12:43:51.575" v="157" actId="47"/>
        <pc:sldMkLst>
          <pc:docMk/>
          <pc:sldMk cId="346923875" sldId="2076138639"/>
        </pc:sldMkLst>
      </pc:sldChg>
      <pc:sldChg chg="new del">
        <pc:chgData name="Manuela Pichler" userId="07a841c1-49c8-4352-a8c3-3a0d96cf9a08" providerId="ADAL" clId="{0941F924-3F24-4714-990E-9A8C08AAED65}" dt="2020-11-27T12:45:56.122" v="201" actId="47"/>
        <pc:sldMkLst>
          <pc:docMk/>
          <pc:sldMk cId="2598144559" sldId="2076138639"/>
        </pc:sldMkLst>
      </pc:sldChg>
      <pc:sldChg chg="modSp new del mod">
        <pc:chgData name="Manuela Pichler" userId="07a841c1-49c8-4352-a8c3-3a0d96cf9a08" providerId="ADAL" clId="{0941F924-3F24-4714-990E-9A8C08AAED65}" dt="2020-11-27T12:43:28.632" v="134" actId="47"/>
        <pc:sldMkLst>
          <pc:docMk/>
          <pc:sldMk cId="3207382680" sldId="2076138639"/>
        </pc:sldMkLst>
        <pc:spChg chg="mod">
          <ac:chgData name="Manuela Pichler" userId="07a841c1-49c8-4352-a8c3-3a0d96cf9a08" providerId="ADAL" clId="{0941F924-3F24-4714-990E-9A8C08AAED65}" dt="2020-11-27T12:43:25.610" v="133" actId="20577"/>
          <ac:spMkLst>
            <pc:docMk/>
            <pc:sldMk cId="3207382680" sldId="2076138639"/>
            <ac:spMk id="2" creationId="{33FD884E-7672-48AE-AB36-B43F819876DD}"/>
          </ac:spMkLst>
        </pc:spChg>
      </pc:sldChg>
      <pc:sldChg chg="delSp modSp new del mod">
        <pc:chgData name="Manuela Pichler" userId="07a841c1-49c8-4352-a8c3-3a0d96cf9a08" providerId="ADAL" clId="{0941F924-3F24-4714-990E-9A8C08AAED65}" dt="2020-11-27T12:43:40.664" v="155" actId="47"/>
        <pc:sldMkLst>
          <pc:docMk/>
          <pc:sldMk cId="3419819467" sldId="2076138639"/>
        </pc:sldMkLst>
        <pc:spChg chg="del">
          <ac:chgData name="Manuela Pichler" userId="07a841c1-49c8-4352-a8c3-3a0d96cf9a08" providerId="ADAL" clId="{0941F924-3F24-4714-990E-9A8C08AAED65}" dt="2020-11-27T12:43:37.132" v="154" actId="478"/>
          <ac:spMkLst>
            <pc:docMk/>
            <pc:sldMk cId="3419819467" sldId="2076138639"/>
            <ac:spMk id="2" creationId="{34515B03-5994-4891-88E0-CBAA3F451E43}"/>
          </ac:spMkLst>
        </pc:spChg>
        <pc:spChg chg="mod">
          <ac:chgData name="Manuela Pichler" userId="07a841c1-49c8-4352-a8c3-3a0d96cf9a08" providerId="ADAL" clId="{0941F924-3F24-4714-990E-9A8C08AAED65}" dt="2020-11-27T12:43:35.345" v="153" actId="20577"/>
          <ac:spMkLst>
            <pc:docMk/>
            <pc:sldMk cId="3419819467" sldId="2076138639"/>
            <ac:spMk id="3" creationId="{02534959-3D21-42DA-920B-8018C6140FB1}"/>
          </ac:spMkLst>
        </pc:spChg>
      </pc:sldChg>
      <pc:sldChg chg="new del">
        <pc:chgData name="Manuela Pichler" userId="07a841c1-49c8-4352-a8c3-3a0d96cf9a08" providerId="ADAL" clId="{0941F924-3F24-4714-990E-9A8C08AAED65}" dt="2020-11-27T12:45:58.700" v="202" actId="47"/>
        <pc:sldMkLst>
          <pc:docMk/>
          <pc:sldMk cId="1457509076" sldId="2076138640"/>
        </pc:sldMkLst>
      </pc:sldChg>
      <pc:sldChg chg="modSp new mod">
        <pc:chgData name="Manuela Pichler" userId="07a841c1-49c8-4352-a8c3-3a0d96cf9a08" providerId="ADAL" clId="{0941F924-3F24-4714-990E-9A8C08AAED65}" dt="2020-11-27T12:59:44.566" v="356" actId="207"/>
        <pc:sldMkLst>
          <pc:docMk/>
          <pc:sldMk cId="3590667102" sldId="2076138641"/>
        </pc:sldMkLst>
        <pc:spChg chg="mod">
          <ac:chgData name="Manuela Pichler" userId="07a841c1-49c8-4352-a8c3-3a0d96cf9a08" providerId="ADAL" clId="{0941F924-3F24-4714-990E-9A8C08AAED65}" dt="2020-11-27T12:59:44.566" v="356" actId="207"/>
          <ac:spMkLst>
            <pc:docMk/>
            <pc:sldMk cId="3590667102" sldId="2076138641"/>
            <ac:spMk id="2" creationId="{B588A7C6-6D66-4200-8ED7-EBB9DDEBF846}"/>
          </ac:spMkLst>
        </pc:spChg>
      </pc:sldChg>
      <pc:sldChg chg="modSp add mod setBg">
        <pc:chgData name="Manuela Pichler" userId="07a841c1-49c8-4352-a8c3-3a0d96cf9a08" providerId="ADAL" clId="{0941F924-3F24-4714-990E-9A8C08AAED65}" dt="2020-11-27T13:00:20.178" v="359" actId="108"/>
        <pc:sldMkLst>
          <pc:docMk/>
          <pc:sldMk cId="3299531204" sldId="2076138642"/>
        </pc:sldMkLst>
        <pc:spChg chg="mod">
          <ac:chgData name="Manuela Pichler" userId="07a841c1-49c8-4352-a8c3-3a0d96cf9a08" providerId="ADAL" clId="{0941F924-3F24-4714-990E-9A8C08AAED65}" dt="2020-11-27T13:00:20.178" v="359" actId="108"/>
          <ac:spMkLst>
            <pc:docMk/>
            <pc:sldMk cId="3299531204" sldId="2076138642"/>
            <ac:spMk id="40" creationId="{2EEB243D-CD31-49CB-9E5B-55A5515424C0}"/>
          </ac:spMkLst>
        </pc:spChg>
      </pc:sldChg>
      <pc:sldChg chg="delSp modSp add mod">
        <pc:chgData name="Manuela Pichler" userId="07a841c1-49c8-4352-a8c3-3a0d96cf9a08" providerId="ADAL" clId="{0941F924-3F24-4714-990E-9A8C08AAED65}" dt="2020-11-27T13:00:23.719" v="360" actId="478"/>
        <pc:sldMkLst>
          <pc:docMk/>
          <pc:sldMk cId="3587086860" sldId="2076138643"/>
        </pc:sldMkLst>
        <pc:spChg chg="mod">
          <ac:chgData name="Manuela Pichler" userId="07a841c1-49c8-4352-a8c3-3a0d96cf9a08" providerId="ADAL" clId="{0941F924-3F24-4714-990E-9A8C08AAED65}" dt="2020-11-27T12:53:06.877" v="273"/>
          <ac:spMkLst>
            <pc:docMk/>
            <pc:sldMk cId="3587086860" sldId="2076138643"/>
            <ac:spMk id="4" creationId="{F0B77FB4-0849-4242-A82A-E6A6F046DDB6}"/>
          </ac:spMkLst>
        </pc:spChg>
        <pc:spChg chg="mod">
          <ac:chgData name="Manuela Pichler" userId="07a841c1-49c8-4352-a8c3-3a0d96cf9a08" providerId="ADAL" clId="{0941F924-3F24-4714-990E-9A8C08AAED65}" dt="2020-11-27T13:00:10.066" v="357" actId="108"/>
          <ac:spMkLst>
            <pc:docMk/>
            <pc:sldMk cId="3587086860" sldId="2076138643"/>
            <ac:spMk id="32" creationId="{825EE737-FC88-42F7-A600-79172867201D}"/>
          </ac:spMkLst>
        </pc:spChg>
        <pc:spChg chg="del">
          <ac:chgData name="Manuela Pichler" userId="07a841c1-49c8-4352-a8c3-3a0d96cf9a08" providerId="ADAL" clId="{0941F924-3F24-4714-990E-9A8C08AAED65}" dt="2020-11-27T13:00:23.719" v="360" actId="478"/>
          <ac:spMkLst>
            <pc:docMk/>
            <pc:sldMk cId="3587086860" sldId="2076138643"/>
            <ac:spMk id="35" creationId="{8139EF65-D6EA-476B-A28D-949F0692252B}"/>
          </ac:spMkLst>
        </pc:spChg>
      </pc:sldChg>
      <pc:sldChg chg="add del">
        <pc:chgData name="Manuela Pichler" userId="07a841c1-49c8-4352-a8c3-3a0d96cf9a08" providerId="ADAL" clId="{0941F924-3F24-4714-990E-9A8C08AAED65}" dt="2020-11-27T12:46:45.605" v="207" actId="22"/>
        <pc:sldMkLst>
          <pc:docMk/>
          <pc:sldMk cId="721819722" sldId="2076138644"/>
        </pc:sldMkLst>
      </pc:sldChg>
      <pc:sldChg chg="addSp delSp modSp add mod">
        <pc:chgData name="Manuela Pichler" userId="07a841c1-49c8-4352-a8c3-3a0d96cf9a08" providerId="ADAL" clId="{0941F924-3F24-4714-990E-9A8C08AAED65}" dt="2020-11-27T12:47:06.629" v="212" actId="207"/>
        <pc:sldMkLst>
          <pc:docMk/>
          <pc:sldMk cId="2761718292" sldId="2076138644"/>
        </pc:sldMkLst>
        <pc:spChg chg="del">
          <ac:chgData name="Manuela Pichler" userId="07a841c1-49c8-4352-a8c3-3a0d96cf9a08" providerId="ADAL" clId="{0941F924-3F24-4714-990E-9A8C08AAED65}" dt="2020-11-27T12:46:51.227" v="209" actId="478"/>
          <ac:spMkLst>
            <pc:docMk/>
            <pc:sldMk cId="2761718292" sldId="2076138644"/>
            <ac:spMk id="2" creationId="{B588A7C6-6D66-4200-8ED7-EBB9DDEBF846}"/>
          </ac:spMkLst>
        </pc:spChg>
        <pc:spChg chg="add del mod">
          <ac:chgData name="Manuela Pichler" userId="07a841c1-49c8-4352-a8c3-3a0d96cf9a08" providerId="ADAL" clId="{0941F924-3F24-4714-990E-9A8C08AAED65}" dt="2020-11-27T12:46:53.420" v="211" actId="478"/>
          <ac:spMkLst>
            <pc:docMk/>
            <pc:sldMk cId="2761718292" sldId="2076138644"/>
            <ac:spMk id="4" creationId="{AD336845-5D21-45BF-9B4A-AFE5879C84E9}"/>
          </ac:spMkLst>
        </pc:spChg>
        <pc:spChg chg="add mod">
          <ac:chgData name="Manuela Pichler" userId="07a841c1-49c8-4352-a8c3-3a0d96cf9a08" providerId="ADAL" clId="{0941F924-3F24-4714-990E-9A8C08AAED65}" dt="2020-11-27T12:46:51.588" v="210"/>
          <ac:spMkLst>
            <pc:docMk/>
            <pc:sldMk cId="2761718292" sldId="2076138644"/>
            <ac:spMk id="5" creationId="{EA59E93F-A913-4873-A941-860F131BAC88}"/>
          </ac:spMkLst>
        </pc:spChg>
        <pc:spChg chg="add mod">
          <ac:chgData name="Manuela Pichler" userId="07a841c1-49c8-4352-a8c3-3a0d96cf9a08" providerId="ADAL" clId="{0941F924-3F24-4714-990E-9A8C08AAED65}" dt="2020-11-27T12:47:06.629" v="212" actId="207"/>
          <ac:spMkLst>
            <pc:docMk/>
            <pc:sldMk cId="2761718292" sldId="2076138644"/>
            <ac:spMk id="6" creationId="{F743CF8E-6946-4D0D-8B6E-4C4A6C2C61C6}"/>
          </ac:spMkLst>
        </pc:spChg>
      </pc:sldChg>
      <pc:sldChg chg="add del">
        <pc:chgData name="Manuela Pichler" userId="07a841c1-49c8-4352-a8c3-3a0d96cf9a08" providerId="ADAL" clId="{0941F924-3F24-4714-990E-9A8C08AAED65}" dt="2020-11-27T12:46:42.164" v="205" actId="47"/>
        <pc:sldMkLst>
          <pc:docMk/>
          <pc:sldMk cId="3870742666" sldId="2076138644"/>
        </pc:sldMkLst>
      </pc:sldChg>
      <pc:sldChg chg="modSp add ord">
        <pc:chgData name="Manuela Pichler" userId="07a841c1-49c8-4352-a8c3-3a0d96cf9a08" providerId="ADAL" clId="{0941F924-3F24-4714-990E-9A8C08AAED65}" dt="2020-11-27T12:53:06.877" v="273"/>
        <pc:sldMkLst>
          <pc:docMk/>
          <pc:sldMk cId="2484473304" sldId="2076138645"/>
        </pc:sldMkLst>
        <pc:spChg chg="mod">
          <ac:chgData name="Manuela Pichler" userId="07a841c1-49c8-4352-a8c3-3a0d96cf9a08" providerId="ADAL" clId="{0941F924-3F24-4714-990E-9A8C08AAED65}" dt="2020-11-27T12:53:06.877" v="273"/>
          <ac:spMkLst>
            <pc:docMk/>
            <pc:sldMk cId="2484473304" sldId="2076138645"/>
            <ac:spMk id="2" creationId="{81F079E9-1D82-4101-A4DA-7C90B36D58A1}"/>
          </ac:spMkLst>
        </pc:spChg>
      </pc:sldChg>
      <pc:sldChg chg="add del">
        <pc:chgData name="Manuela Pichler" userId="07a841c1-49c8-4352-a8c3-3a0d96cf9a08" providerId="ADAL" clId="{0941F924-3F24-4714-990E-9A8C08AAED65}" dt="2020-11-27T12:50:26.935" v="225" actId="47"/>
        <pc:sldMkLst>
          <pc:docMk/>
          <pc:sldMk cId="158281648" sldId="2076138646"/>
        </pc:sldMkLst>
      </pc:sldChg>
      <pc:sldChg chg="add del">
        <pc:chgData name="Manuela Pichler" userId="07a841c1-49c8-4352-a8c3-3a0d96cf9a08" providerId="ADAL" clId="{0941F924-3F24-4714-990E-9A8C08AAED65}" dt="2020-11-27T12:50:28.208" v="226" actId="47"/>
        <pc:sldMkLst>
          <pc:docMk/>
          <pc:sldMk cId="2461366884" sldId="2076138647"/>
        </pc:sldMkLst>
      </pc:sldChg>
      <pc:sldChg chg="modSp add mod">
        <pc:chgData name="Manuela Pichler" userId="07a841c1-49c8-4352-a8c3-3a0d96cf9a08" providerId="ADAL" clId="{0941F924-3F24-4714-990E-9A8C08AAED65}" dt="2020-11-27T12:50:49.062" v="230" actId="6549"/>
        <pc:sldMkLst>
          <pc:docMk/>
          <pc:sldMk cId="2493183193" sldId="2076138648"/>
        </pc:sldMkLst>
        <pc:spChg chg="mod">
          <ac:chgData name="Manuela Pichler" userId="07a841c1-49c8-4352-a8c3-3a0d96cf9a08" providerId="ADAL" clId="{0941F924-3F24-4714-990E-9A8C08AAED65}" dt="2020-11-27T12:50:43.918" v="229" actId="404"/>
          <ac:spMkLst>
            <pc:docMk/>
            <pc:sldMk cId="2493183193" sldId="2076138648"/>
            <ac:spMk id="2" creationId="{D7460EDA-6CEC-4FB6-9755-89370845B5E0}"/>
          </ac:spMkLst>
        </pc:spChg>
        <pc:spChg chg="mod">
          <ac:chgData name="Manuela Pichler" userId="07a841c1-49c8-4352-a8c3-3a0d96cf9a08" providerId="ADAL" clId="{0941F924-3F24-4714-990E-9A8C08AAED65}" dt="2020-11-27T12:50:49.062" v="230" actId="6549"/>
          <ac:spMkLst>
            <pc:docMk/>
            <pc:sldMk cId="2493183193" sldId="2076138648"/>
            <ac:spMk id="53" creationId="{C14491FC-E96E-428E-819D-DB33807B6A29}"/>
          </ac:spMkLst>
        </pc:spChg>
      </pc:sldChg>
      <pc:sldChg chg="add">
        <pc:chgData name="Manuela Pichler" userId="07a841c1-49c8-4352-a8c3-3a0d96cf9a08" providerId="ADAL" clId="{0941F924-3F24-4714-990E-9A8C08AAED65}" dt="2020-11-27T12:50:13.526" v="222" actId="22"/>
        <pc:sldMkLst>
          <pc:docMk/>
          <pc:sldMk cId="4094595037" sldId="2076138649"/>
        </pc:sldMkLst>
      </pc:sldChg>
      <pc:sldChg chg="add">
        <pc:chgData name="Manuela Pichler" userId="07a841c1-49c8-4352-a8c3-3a0d96cf9a08" providerId="ADAL" clId="{0941F924-3F24-4714-990E-9A8C08AAED65}" dt="2020-11-27T12:50:13.526" v="222" actId="22"/>
        <pc:sldMkLst>
          <pc:docMk/>
          <pc:sldMk cId="933669170" sldId="2076138650"/>
        </pc:sldMkLst>
      </pc:sldChg>
      <pc:sldChg chg="modSp add mod">
        <pc:chgData name="Manuela Pichler" userId="07a841c1-49c8-4352-a8c3-3a0d96cf9a08" providerId="ADAL" clId="{0941F924-3F24-4714-990E-9A8C08AAED65}" dt="2020-11-27T12:51:04.105" v="232" actId="404"/>
        <pc:sldMkLst>
          <pc:docMk/>
          <pc:sldMk cId="3273244610" sldId="2076138651"/>
        </pc:sldMkLst>
        <pc:spChg chg="mod">
          <ac:chgData name="Manuela Pichler" userId="07a841c1-49c8-4352-a8c3-3a0d96cf9a08" providerId="ADAL" clId="{0941F924-3F24-4714-990E-9A8C08AAED65}" dt="2020-11-27T12:51:04.105" v="232" actId="404"/>
          <ac:spMkLst>
            <pc:docMk/>
            <pc:sldMk cId="3273244610" sldId="2076138651"/>
            <ac:spMk id="2" creationId="{D7460EDA-6CEC-4FB6-9755-89370845B5E0}"/>
          </ac:spMkLst>
        </pc:spChg>
      </pc:sldChg>
      <pc:sldChg chg="add">
        <pc:chgData name="Manuela Pichler" userId="07a841c1-49c8-4352-a8c3-3a0d96cf9a08" providerId="ADAL" clId="{0941F924-3F24-4714-990E-9A8C08AAED65}" dt="2020-11-27T12:50:13.526" v="222" actId="22"/>
        <pc:sldMkLst>
          <pc:docMk/>
          <pc:sldMk cId="2438737292" sldId="2076138652"/>
        </pc:sldMkLst>
      </pc:sldChg>
      <pc:sldChg chg="add del">
        <pc:chgData name="Manuela Pichler" userId="07a841c1-49c8-4352-a8c3-3a0d96cf9a08" providerId="ADAL" clId="{0941F924-3F24-4714-990E-9A8C08AAED65}" dt="2020-11-27T12:51:39.823" v="238" actId="22"/>
        <pc:sldMkLst>
          <pc:docMk/>
          <pc:sldMk cId="1299715311" sldId="2076138653"/>
        </pc:sldMkLst>
      </pc:sldChg>
      <pc:sldChg chg="add del">
        <pc:chgData name="Manuela Pichler" userId="07a841c1-49c8-4352-a8c3-3a0d96cf9a08" providerId="ADAL" clId="{0941F924-3F24-4714-990E-9A8C08AAED65}" dt="2020-11-27T12:51:36.773" v="236" actId="47"/>
        <pc:sldMkLst>
          <pc:docMk/>
          <pc:sldMk cId="3069411142" sldId="2076138653"/>
        </pc:sldMkLst>
      </pc:sldChg>
      <pc:sldChg chg="modSp add mod">
        <pc:chgData name="Manuela Pichler" userId="07a841c1-49c8-4352-a8c3-3a0d96cf9a08" providerId="ADAL" clId="{0941F924-3F24-4714-990E-9A8C08AAED65}" dt="2020-11-27T12:51:45.373" v="258" actId="20577"/>
        <pc:sldMkLst>
          <pc:docMk/>
          <pc:sldMk cId="3424833571" sldId="2076138653"/>
        </pc:sldMkLst>
        <pc:spChg chg="mod">
          <ac:chgData name="Manuela Pichler" userId="07a841c1-49c8-4352-a8c3-3a0d96cf9a08" providerId="ADAL" clId="{0941F924-3F24-4714-990E-9A8C08AAED65}" dt="2020-11-27T12:51:45.373" v="258" actId="20577"/>
          <ac:spMkLst>
            <pc:docMk/>
            <pc:sldMk cId="3424833571" sldId="2076138653"/>
            <ac:spMk id="5" creationId="{EA59E93F-A913-4873-A941-860F131BAC88}"/>
          </ac:spMkLst>
        </pc:spChg>
        <pc:spChg chg="mod">
          <ac:chgData name="Manuela Pichler" userId="07a841c1-49c8-4352-a8c3-3a0d96cf9a08" providerId="ADAL" clId="{0941F924-3F24-4714-990E-9A8C08AAED65}" dt="2020-11-27T12:51:41.665" v="240" actId="20577"/>
          <ac:spMkLst>
            <pc:docMk/>
            <pc:sldMk cId="3424833571" sldId="2076138653"/>
            <ac:spMk id="6" creationId="{F743CF8E-6946-4D0D-8B6E-4C4A6C2C61C6}"/>
          </ac:spMkLst>
        </pc:spChg>
      </pc:sldChg>
      <pc:sldChg chg="add del">
        <pc:chgData name="Manuela Pichler" userId="07a841c1-49c8-4352-a8c3-3a0d96cf9a08" providerId="ADAL" clId="{0941F924-3F24-4714-990E-9A8C08AAED65}" dt="2020-11-27T12:52:56.404" v="269"/>
        <pc:sldMkLst>
          <pc:docMk/>
          <pc:sldMk cId="3618080450" sldId="2076138654"/>
        </pc:sldMkLst>
      </pc:sldChg>
      <pc:sldChg chg="modSp add mod modNotes">
        <pc:chgData name="Manuela Pichler" userId="07a841c1-49c8-4352-a8c3-3a0d96cf9a08" providerId="ADAL" clId="{0941F924-3F24-4714-990E-9A8C08AAED65}" dt="2020-11-27T13:13:08.271" v="596" actId="207"/>
        <pc:sldMkLst>
          <pc:docMk/>
          <pc:sldMk cId="3874724763" sldId="2076138654"/>
        </pc:sldMkLst>
        <pc:spChg chg="mod">
          <ac:chgData name="Manuela Pichler" userId="07a841c1-49c8-4352-a8c3-3a0d96cf9a08" providerId="ADAL" clId="{0941F924-3F24-4714-990E-9A8C08AAED65}" dt="2020-11-27T13:13:08.271" v="596" actId="207"/>
          <ac:spMkLst>
            <pc:docMk/>
            <pc:sldMk cId="3874724763" sldId="2076138654"/>
            <ac:spMk id="67" creationId="{9FAB1C5C-77D8-430B-9742-3103A49C9389}"/>
          </ac:spMkLst>
        </pc:spChg>
      </pc:sldChg>
      <pc:sldChg chg="modSp add mod">
        <pc:chgData name="Manuela Pichler" userId="07a841c1-49c8-4352-a8c3-3a0d96cf9a08" providerId="ADAL" clId="{0941F924-3F24-4714-990E-9A8C08AAED65}" dt="2020-11-27T13:00:43.556" v="363"/>
        <pc:sldMkLst>
          <pc:docMk/>
          <pc:sldMk cId="1028562518" sldId="2076138655"/>
        </pc:sldMkLst>
        <pc:spChg chg="mod">
          <ac:chgData name="Manuela Pichler" userId="07a841c1-49c8-4352-a8c3-3a0d96cf9a08" providerId="ADAL" clId="{0941F924-3F24-4714-990E-9A8C08AAED65}" dt="2020-11-27T13:00:43.556" v="363"/>
          <ac:spMkLst>
            <pc:docMk/>
            <pc:sldMk cId="1028562518" sldId="2076138655"/>
            <ac:spMk id="5" creationId="{EA59E93F-A913-4873-A941-860F131BAC88}"/>
          </ac:spMkLst>
        </pc:spChg>
        <pc:spChg chg="mod">
          <ac:chgData name="Manuela Pichler" userId="07a841c1-49c8-4352-a8c3-3a0d96cf9a08" providerId="ADAL" clId="{0941F924-3F24-4714-990E-9A8C08AAED65}" dt="2020-11-27T13:00:36.201" v="362" actId="20577"/>
          <ac:spMkLst>
            <pc:docMk/>
            <pc:sldMk cId="1028562518" sldId="2076138655"/>
            <ac:spMk id="6" creationId="{F743CF8E-6946-4D0D-8B6E-4C4A6C2C61C6}"/>
          </ac:spMkLst>
        </pc:spChg>
      </pc:sldChg>
      <pc:sldChg chg="delSp modSp add del mod">
        <pc:chgData name="Manuela Pichler" userId="07a841c1-49c8-4352-a8c3-3a0d96cf9a08" providerId="ADAL" clId="{0941F924-3F24-4714-990E-9A8C08AAED65}" dt="2020-11-27T12:59:25.758" v="355" actId="47"/>
        <pc:sldMkLst>
          <pc:docMk/>
          <pc:sldMk cId="2815836750" sldId="2076138655"/>
        </pc:sldMkLst>
        <pc:spChg chg="mod">
          <ac:chgData name="Manuela Pichler" userId="07a841c1-49c8-4352-a8c3-3a0d96cf9a08" providerId="ADAL" clId="{0941F924-3F24-4714-990E-9A8C08AAED65}" dt="2020-11-27T12:59:05.852" v="353" actId="20577"/>
          <ac:spMkLst>
            <pc:docMk/>
            <pc:sldMk cId="2815836750" sldId="2076138655"/>
            <ac:spMk id="2" creationId="{AB69124B-8E42-474B-AB1E-BA11DB447664}"/>
          </ac:spMkLst>
        </pc:spChg>
        <pc:spChg chg="del">
          <ac:chgData name="Manuela Pichler" userId="07a841c1-49c8-4352-a8c3-3a0d96cf9a08" providerId="ADAL" clId="{0941F924-3F24-4714-990E-9A8C08AAED65}" dt="2020-11-27T12:59:24.080" v="354" actId="478"/>
          <ac:spMkLst>
            <pc:docMk/>
            <pc:sldMk cId="2815836750" sldId="2076138655"/>
            <ac:spMk id="3" creationId="{148DE3BB-4E46-42DC-B9A8-A5B20ADDBB74}"/>
          </ac:spMkLst>
        </pc:spChg>
        <pc:spChg chg="del">
          <ac:chgData name="Manuela Pichler" userId="07a841c1-49c8-4352-a8c3-3a0d96cf9a08" providerId="ADAL" clId="{0941F924-3F24-4714-990E-9A8C08AAED65}" dt="2020-11-27T12:59:24.080" v="354" actId="478"/>
          <ac:spMkLst>
            <pc:docMk/>
            <pc:sldMk cId="2815836750" sldId="2076138655"/>
            <ac:spMk id="7" creationId="{1A6281F6-B95F-4F78-A014-1675C7B61557}"/>
          </ac:spMkLst>
        </pc:spChg>
        <pc:spChg chg="del">
          <ac:chgData name="Manuela Pichler" userId="07a841c1-49c8-4352-a8c3-3a0d96cf9a08" providerId="ADAL" clId="{0941F924-3F24-4714-990E-9A8C08AAED65}" dt="2020-11-27T12:59:24.080" v="354" actId="478"/>
          <ac:spMkLst>
            <pc:docMk/>
            <pc:sldMk cId="2815836750" sldId="2076138655"/>
            <ac:spMk id="14" creationId="{D5BFFB30-AB03-41DC-BA2B-AF1A9F008987}"/>
          </ac:spMkLst>
        </pc:spChg>
        <pc:spChg chg="del">
          <ac:chgData name="Manuela Pichler" userId="07a841c1-49c8-4352-a8c3-3a0d96cf9a08" providerId="ADAL" clId="{0941F924-3F24-4714-990E-9A8C08AAED65}" dt="2020-11-27T12:59:24.080" v="354" actId="478"/>
          <ac:spMkLst>
            <pc:docMk/>
            <pc:sldMk cId="2815836750" sldId="2076138655"/>
            <ac:spMk id="15" creationId="{7D108EB0-2FED-45D5-973C-8CDD4317EB4C}"/>
          </ac:spMkLst>
        </pc:spChg>
        <pc:spChg chg="del">
          <ac:chgData name="Manuela Pichler" userId="07a841c1-49c8-4352-a8c3-3a0d96cf9a08" providerId="ADAL" clId="{0941F924-3F24-4714-990E-9A8C08AAED65}" dt="2020-11-27T12:59:24.080" v="354" actId="478"/>
          <ac:spMkLst>
            <pc:docMk/>
            <pc:sldMk cId="2815836750" sldId="2076138655"/>
            <ac:spMk id="16" creationId="{DC102EDF-C095-4B34-A27C-27ACD3D5DA61}"/>
          </ac:spMkLst>
        </pc:spChg>
        <pc:spChg chg="del">
          <ac:chgData name="Manuela Pichler" userId="07a841c1-49c8-4352-a8c3-3a0d96cf9a08" providerId="ADAL" clId="{0941F924-3F24-4714-990E-9A8C08AAED65}" dt="2020-11-27T12:59:24.080" v="354" actId="478"/>
          <ac:spMkLst>
            <pc:docMk/>
            <pc:sldMk cId="2815836750" sldId="2076138655"/>
            <ac:spMk id="22" creationId="{19471DEA-1F71-42BF-B912-C0FF5FC09910}"/>
          </ac:spMkLst>
        </pc:spChg>
        <pc:spChg chg="del">
          <ac:chgData name="Manuela Pichler" userId="07a841c1-49c8-4352-a8c3-3a0d96cf9a08" providerId="ADAL" clId="{0941F924-3F24-4714-990E-9A8C08AAED65}" dt="2020-11-27T12:59:24.080" v="354" actId="478"/>
          <ac:spMkLst>
            <pc:docMk/>
            <pc:sldMk cId="2815836750" sldId="2076138655"/>
            <ac:spMk id="23" creationId="{9B48B651-07AE-430D-91CB-695F5F284813}"/>
          </ac:spMkLst>
        </pc:spChg>
        <pc:spChg chg="del">
          <ac:chgData name="Manuela Pichler" userId="07a841c1-49c8-4352-a8c3-3a0d96cf9a08" providerId="ADAL" clId="{0941F924-3F24-4714-990E-9A8C08AAED65}" dt="2020-11-27T12:59:24.080" v="354" actId="478"/>
          <ac:spMkLst>
            <pc:docMk/>
            <pc:sldMk cId="2815836750" sldId="2076138655"/>
            <ac:spMk id="24" creationId="{66C22E5A-5D5A-42B0-AA5D-43B559CC4C92}"/>
          </ac:spMkLst>
        </pc:spChg>
        <pc:spChg chg="del">
          <ac:chgData name="Manuela Pichler" userId="07a841c1-49c8-4352-a8c3-3a0d96cf9a08" providerId="ADAL" clId="{0941F924-3F24-4714-990E-9A8C08AAED65}" dt="2020-11-27T12:59:24.080" v="354" actId="478"/>
          <ac:spMkLst>
            <pc:docMk/>
            <pc:sldMk cId="2815836750" sldId="2076138655"/>
            <ac:spMk id="45" creationId="{AB1965AD-BED4-4BC0-B0FF-029BD22059D4}"/>
          </ac:spMkLst>
        </pc:spChg>
        <pc:spChg chg="del">
          <ac:chgData name="Manuela Pichler" userId="07a841c1-49c8-4352-a8c3-3a0d96cf9a08" providerId="ADAL" clId="{0941F924-3F24-4714-990E-9A8C08AAED65}" dt="2020-11-27T12:59:24.080" v="354" actId="478"/>
          <ac:spMkLst>
            <pc:docMk/>
            <pc:sldMk cId="2815836750" sldId="2076138655"/>
            <ac:spMk id="46" creationId="{24593884-170D-4ECF-AB61-4E3D8AF56A1A}"/>
          </ac:spMkLst>
        </pc:spChg>
        <pc:spChg chg="del">
          <ac:chgData name="Manuela Pichler" userId="07a841c1-49c8-4352-a8c3-3a0d96cf9a08" providerId="ADAL" clId="{0941F924-3F24-4714-990E-9A8C08AAED65}" dt="2020-11-27T12:59:24.080" v="354" actId="478"/>
          <ac:spMkLst>
            <pc:docMk/>
            <pc:sldMk cId="2815836750" sldId="2076138655"/>
            <ac:spMk id="47" creationId="{CBBB1576-6E1B-4985-A6C3-D1B6F3B8BC1F}"/>
          </ac:spMkLst>
        </pc:spChg>
        <pc:spChg chg="del">
          <ac:chgData name="Manuela Pichler" userId="07a841c1-49c8-4352-a8c3-3a0d96cf9a08" providerId="ADAL" clId="{0941F924-3F24-4714-990E-9A8C08AAED65}" dt="2020-11-27T12:59:24.080" v="354" actId="478"/>
          <ac:spMkLst>
            <pc:docMk/>
            <pc:sldMk cId="2815836750" sldId="2076138655"/>
            <ac:spMk id="52" creationId="{B4BECB40-A16D-4FD9-B4CE-5468C24E765A}"/>
          </ac:spMkLst>
        </pc:spChg>
        <pc:spChg chg="del">
          <ac:chgData name="Manuela Pichler" userId="07a841c1-49c8-4352-a8c3-3a0d96cf9a08" providerId="ADAL" clId="{0941F924-3F24-4714-990E-9A8C08AAED65}" dt="2020-11-27T12:59:24.080" v="354" actId="478"/>
          <ac:spMkLst>
            <pc:docMk/>
            <pc:sldMk cId="2815836750" sldId="2076138655"/>
            <ac:spMk id="53" creationId="{92205109-7198-4C8F-85ED-3BF34573FF25}"/>
          </ac:spMkLst>
        </pc:spChg>
        <pc:spChg chg="del">
          <ac:chgData name="Manuela Pichler" userId="07a841c1-49c8-4352-a8c3-3a0d96cf9a08" providerId="ADAL" clId="{0941F924-3F24-4714-990E-9A8C08AAED65}" dt="2020-11-27T12:59:24.080" v="354" actId="478"/>
          <ac:spMkLst>
            <pc:docMk/>
            <pc:sldMk cId="2815836750" sldId="2076138655"/>
            <ac:spMk id="57" creationId="{0D9B519A-BD5E-45D3-A790-9221E63C5944}"/>
          </ac:spMkLst>
        </pc:spChg>
        <pc:spChg chg="del">
          <ac:chgData name="Manuela Pichler" userId="07a841c1-49c8-4352-a8c3-3a0d96cf9a08" providerId="ADAL" clId="{0941F924-3F24-4714-990E-9A8C08AAED65}" dt="2020-11-27T12:59:24.080" v="354" actId="478"/>
          <ac:spMkLst>
            <pc:docMk/>
            <pc:sldMk cId="2815836750" sldId="2076138655"/>
            <ac:spMk id="62" creationId="{F9C420FC-9C02-487D-BAF9-D93E6D13D3AC}"/>
          </ac:spMkLst>
        </pc:spChg>
        <pc:spChg chg="del">
          <ac:chgData name="Manuela Pichler" userId="07a841c1-49c8-4352-a8c3-3a0d96cf9a08" providerId="ADAL" clId="{0941F924-3F24-4714-990E-9A8C08AAED65}" dt="2020-11-27T12:59:24.080" v="354" actId="478"/>
          <ac:spMkLst>
            <pc:docMk/>
            <pc:sldMk cId="2815836750" sldId="2076138655"/>
            <ac:spMk id="65" creationId="{BC1B28AA-304A-4C63-83B9-CA469D1F3B18}"/>
          </ac:spMkLst>
        </pc:spChg>
        <pc:spChg chg="del">
          <ac:chgData name="Manuela Pichler" userId="07a841c1-49c8-4352-a8c3-3a0d96cf9a08" providerId="ADAL" clId="{0941F924-3F24-4714-990E-9A8C08AAED65}" dt="2020-11-27T12:59:24.080" v="354" actId="478"/>
          <ac:spMkLst>
            <pc:docMk/>
            <pc:sldMk cId="2815836750" sldId="2076138655"/>
            <ac:spMk id="68" creationId="{87C07B0F-1C92-4685-938E-85B0C51B2AD1}"/>
          </ac:spMkLst>
        </pc:spChg>
        <pc:spChg chg="del">
          <ac:chgData name="Manuela Pichler" userId="07a841c1-49c8-4352-a8c3-3a0d96cf9a08" providerId="ADAL" clId="{0941F924-3F24-4714-990E-9A8C08AAED65}" dt="2020-11-27T12:59:24.080" v="354" actId="478"/>
          <ac:spMkLst>
            <pc:docMk/>
            <pc:sldMk cId="2815836750" sldId="2076138655"/>
            <ac:spMk id="69" creationId="{EB8BDB8D-918F-4278-BE60-79390549168A}"/>
          </ac:spMkLst>
        </pc:spChg>
        <pc:spChg chg="del">
          <ac:chgData name="Manuela Pichler" userId="07a841c1-49c8-4352-a8c3-3a0d96cf9a08" providerId="ADAL" clId="{0941F924-3F24-4714-990E-9A8C08AAED65}" dt="2020-11-27T12:59:24.080" v="354" actId="478"/>
          <ac:spMkLst>
            <pc:docMk/>
            <pc:sldMk cId="2815836750" sldId="2076138655"/>
            <ac:spMk id="79" creationId="{00B9EAFC-1104-4C39-9FD2-F44660275E38}"/>
          </ac:spMkLst>
        </pc:spChg>
        <pc:grpChg chg="del">
          <ac:chgData name="Manuela Pichler" userId="07a841c1-49c8-4352-a8c3-3a0d96cf9a08" providerId="ADAL" clId="{0941F924-3F24-4714-990E-9A8C08AAED65}" dt="2020-11-27T12:59:24.080" v="354" actId="478"/>
          <ac:grpSpMkLst>
            <pc:docMk/>
            <pc:sldMk cId="2815836750" sldId="2076138655"/>
            <ac:grpSpMk id="80" creationId="{8D3CBBAA-A72E-4638-8225-2B631B261D14}"/>
          </ac:grpSpMkLst>
        </pc:grpChg>
        <pc:picChg chg="del">
          <ac:chgData name="Manuela Pichler" userId="07a841c1-49c8-4352-a8c3-3a0d96cf9a08" providerId="ADAL" clId="{0941F924-3F24-4714-990E-9A8C08AAED65}" dt="2020-11-27T12:59:24.080" v="354" actId="478"/>
          <ac:picMkLst>
            <pc:docMk/>
            <pc:sldMk cId="2815836750" sldId="2076138655"/>
            <ac:picMk id="19" creationId="{D3011409-93B8-43B3-A877-E42661B359CD}"/>
          </ac:picMkLst>
        </pc:picChg>
      </pc:sldChg>
      <pc:sldChg chg="modSp add mod">
        <pc:chgData name="Manuela Pichler" userId="07a841c1-49c8-4352-a8c3-3a0d96cf9a08" providerId="ADAL" clId="{0941F924-3F24-4714-990E-9A8C08AAED65}" dt="2020-11-27T13:04:23.499" v="419" actId="20577"/>
        <pc:sldMkLst>
          <pc:docMk/>
          <pc:sldMk cId="101411985" sldId="2076138656"/>
        </pc:sldMkLst>
        <pc:spChg chg="mod">
          <ac:chgData name="Manuela Pichler" userId="07a841c1-49c8-4352-a8c3-3a0d96cf9a08" providerId="ADAL" clId="{0941F924-3F24-4714-990E-9A8C08AAED65}" dt="2020-11-27T13:04:23.499" v="419" actId="20577"/>
          <ac:spMkLst>
            <pc:docMk/>
            <pc:sldMk cId="101411985" sldId="2076138656"/>
            <ac:spMk id="5" creationId="{EA59E93F-A913-4873-A941-860F131BAC88}"/>
          </ac:spMkLst>
        </pc:spChg>
        <pc:spChg chg="mod">
          <ac:chgData name="Manuela Pichler" userId="07a841c1-49c8-4352-a8c3-3a0d96cf9a08" providerId="ADAL" clId="{0941F924-3F24-4714-990E-9A8C08AAED65}" dt="2020-11-27T13:04:12.510" v="407" actId="20577"/>
          <ac:spMkLst>
            <pc:docMk/>
            <pc:sldMk cId="101411985" sldId="2076138656"/>
            <ac:spMk id="6" creationId="{F743CF8E-6946-4D0D-8B6E-4C4A6C2C61C6}"/>
          </ac:spMkLst>
        </pc:spChg>
      </pc:sldChg>
      <pc:sldChg chg="modSp add mod">
        <pc:chgData name="Manuela Pichler" userId="07a841c1-49c8-4352-a8c3-3a0d96cf9a08" providerId="ADAL" clId="{0941F924-3F24-4714-990E-9A8C08AAED65}" dt="2020-11-27T13:07:53.240" v="488" actId="20577"/>
        <pc:sldMkLst>
          <pc:docMk/>
          <pc:sldMk cId="3046288030" sldId="2076138657"/>
        </pc:sldMkLst>
        <pc:spChg chg="mod">
          <ac:chgData name="Manuela Pichler" userId="07a841c1-49c8-4352-a8c3-3a0d96cf9a08" providerId="ADAL" clId="{0941F924-3F24-4714-990E-9A8C08AAED65}" dt="2020-11-27T13:07:53.240" v="488" actId="20577"/>
          <ac:spMkLst>
            <pc:docMk/>
            <pc:sldMk cId="3046288030" sldId="2076138657"/>
            <ac:spMk id="5" creationId="{EA59E93F-A913-4873-A941-860F131BAC88}"/>
          </ac:spMkLst>
        </pc:spChg>
        <pc:spChg chg="mod">
          <ac:chgData name="Manuela Pichler" userId="07a841c1-49c8-4352-a8c3-3a0d96cf9a08" providerId="ADAL" clId="{0941F924-3F24-4714-990E-9A8C08AAED65}" dt="2020-11-27T13:07:48.204" v="460" actId="20577"/>
          <ac:spMkLst>
            <pc:docMk/>
            <pc:sldMk cId="3046288030" sldId="2076138657"/>
            <ac:spMk id="6" creationId="{F743CF8E-6946-4D0D-8B6E-4C4A6C2C61C6}"/>
          </ac:spMkLst>
        </pc:spChg>
      </pc:sldChg>
      <pc:sldChg chg="modSp add mod">
        <pc:chgData name="Manuela Pichler" userId="07a841c1-49c8-4352-a8c3-3a0d96cf9a08" providerId="ADAL" clId="{0941F924-3F24-4714-990E-9A8C08AAED65}" dt="2020-11-27T13:09:14.365" v="507"/>
        <pc:sldMkLst>
          <pc:docMk/>
          <pc:sldMk cId="4221188377" sldId="2076138658"/>
        </pc:sldMkLst>
        <pc:spChg chg="mod">
          <ac:chgData name="Manuela Pichler" userId="07a841c1-49c8-4352-a8c3-3a0d96cf9a08" providerId="ADAL" clId="{0941F924-3F24-4714-990E-9A8C08AAED65}" dt="2020-11-27T13:09:14.365" v="507"/>
          <ac:spMkLst>
            <pc:docMk/>
            <pc:sldMk cId="4221188377" sldId="2076138658"/>
            <ac:spMk id="5" creationId="{EA59E93F-A913-4873-A941-860F131BAC88}"/>
          </ac:spMkLst>
        </pc:spChg>
        <pc:spChg chg="mod">
          <ac:chgData name="Manuela Pichler" userId="07a841c1-49c8-4352-a8c3-3a0d96cf9a08" providerId="ADAL" clId="{0941F924-3F24-4714-990E-9A8C08AAED65}" dt="2020-11-27T13:09:12.895" v="506" actId="20577"/>
          <ac:spMkLst>
            <pc:docMk/>
            <pc:sldMk cId="4221188377" sldId="2076138658"/>
            <ac:spMk id="6" creationId="{F743CF8E-6946-4D0D-8B6E-4C4A6C2C61C6}"/>
          </ac:spMkLst>
        </pc:spChg>
      </pc:sldChg>
      <pc:sldChg chg="modSp add mod">
        <pc:chgData name="Manuela Pichler" userId="07a841c1-49c8-4352-a8c3-3a0d96cf9a08" providerId="ADAL" clId="{0941F924-3F24-4714-990E-9A8C08AAED65}" dt="2020-11-27T13:09:53.908" v="515" actId="207"/>
        <pc:sldMkLst>
          <pc:docMk/>
          <pc:sldMk cId="743928455" sldId="2076138659"/>
        </pc:sldMkLst>
        <pc:spChg chg="mod">
          <ac:chgData name="Manuela Pichler" userId="07a841c1-49c8-4352-a8c3-3a0d96cf9a08" providerId="ADAL" clId="{0941F924-3F24-4714-990E-9A8C08AAED65}" dt="2020-11-27T13:09:53.908" v="515" actId="207"/>
          <ac:spMkLst>
            <pc:docMk/>
            <pc:sldMk cId="743928455" sldId="2076138659"/>
            <ac:spMk id="24" creationId="{BCECBAA9-7369-4555-89E8-9F2447DBBADC}"/>
          </ac:spMkLst>
        </pc:spChg>
        <pc:spChg chg="mod">
          <ac:chgData name="Manuela Pichler" userId="07a841c1-49c8-4352-a8c3-3a0d96cf9a08" providerId="ADAL" clId="{0941F924-3F24-4714-990E-9A8C08AAED65}" dt="2020-11-27T13:09:53.908" v="515" actId="207"/>
          <ac:spMkLst>
            <pc:docMk/>
            <pc:sldMk cId="743928455" sldId="2076138659"/>
            <ac:spMk id="25" creationId="{8AA8B1C2-2D13-4389-BAE3-464FC04BDD7A}"/>
          </ac:spMkLst>
        </pc:spChg>
        <pc:grpChg chg="mod">
          <ac:chgData name="Manuela Pichler" userId="07a841c1-49c8-4352-a8c3-3a0d96cf9a08" providerId="ADAL" clId="{0941F924-3F24-4714-990E-9A8C08AAED65}" dt="2020-11-27T13:09:53.908" v="515" actId="207"/>
          <ac:grpSpMkLst>
            <pc:docMk/>
            <pc:sldMk cId="743928455" sldId="2076138659"/>
            <ac:grpSpMk id="23" creationId="{F3F76BD2-BC94-4994-A9A9-9A522E1C00AF}"/>
          </ac:grpSpMkLst>
        </pc:grpChg>
      </pc:sldChg>
      <pc:sldMasterChg chg="addSldLayout delSldLayout modSldLayout">
        <pc:chgData name="Manuela Pichler" userId="07a841c1-49c8-4352-a8c3-3a0d96cf9a08" providerId="ADAL" clId="{0941F924-3F24-4714-990E-9A8C08AAED65}" dt="2020-11-27T12:47:08.431" v="213" actId="47"/>
        <pc:sldMasterMkLst>
          <pc:docMk/>
          <pc:sldMasterMk cId="786041708" sldId="2147483889"/>
        </pc:sldMasterMkLst>
        <pc:sldLayoutChg chg="del">
          <pc:chgData name="Manuela Pichler" userId="07a841c1-49c8-4352-a8c3-3a0d96cf9a08" providerId="ADAL" clId="{0941F924-3F24-4714-990E-9A8C08AAED65}" dt="2020-11-27T12:39:48.160" v="86" actId="47"/>
          <pc:sldLayoutMkLst>
            <pc:docMk/>
            <pc:sldMasterMk cId="786041708" sldId="2147483889"/>
            <pc:sldLayoutMk cId="1258753824" sldId="2147484106"/>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2696796089" sldId="2147484107"/>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186774562" sldId="2147484108"/>
          </pc:sldLayoutMkLst>
        </pc:sldLayoutChg>
        <pc:sldLayoutChg chg="del">
          <pc:chgData name="Manuela Pichler" userId="07a841c1-49c8-4352-a8c3-3a0d96cf9a08" providerId="ADAL" clId="{0941F924-3F24-4714-990E-9A8C08AAED65}" dt="2020-11-27T12:47:08.431" v="213" actId="47"/>
          <pc:sldLayoutMkLst>
            <pc:docMk/>
            <pc:sldMasterMk cId="786041708" sldId="2147483889"/>
            <pc:sldLayoutMk cId="1388575824" sldId="2147484231"/>
          </pc:sldLayoutMkLst>
        </pc:sldLayoutChg>
        <pc:sldLayoutChg chg="del">
          <pc:chgData name="Manuela Pichler" userId="07a841c1-49c8-4352-a8c3-3a0d96cf9a08" providerId="ADAL" clId="{0941F924-3F24-4714-990E-9A8C08AAED65}" dt="2020-11-27T12:42:35.797" v="112" actId="47"/>
          <pc:sldLayoutMkLst>
            <pc:docMk/>
            <pc:sldMasterMk cId="786041708" sldId="2147483889"/>
            <pc:sldLayoutMk cId="4236999699" sldId="2147484231"/>
          </pc:sldLayoutMkLst>
        </pc:sldLayoutChg>
        <pc:sldLayoutChg chg="add mod">
          <pc:chgData name="Manuela Pichler" userId="07a841c1-49c8-4352-a8c3-3a0d96cf9a08" providerId="ADAL" clId="{0941F924-3F24-4714-990E-9A8C08AAED65}" dt="2020-11-27T12:46:34.762" v="204" actId="22"/>
          <pc:sldLayoutMkLst>
            <pc:docMk/>
            <pc:sldMasterMk cId="786041708" sldId="2147483889"/>
            <pc:sldLayoutMk cId="596573484" sldId="2147484233"/>
          </pc:sldLayoutMkLst>
        </pc:sldLayoutChg>
      </pc:sldMasterChg>
      <pc:sldMasterChg chg="modSldLayout">
        <pc:chgData name="Manuela Pichler" userId="07a841c1-49c8-4352-a8c3-3a0d96cf9a08" providerId="ADAL" clId="{0941F924-3F24-4714-990E-9A8C08AAED65}" dt="2020-11-27T12:45:33.007" v="161" actId="478"/>
        <pc:sldMasterMkLst>
          <pc:docMk/>
          <pc:sldMasterMk cId="868143962" sldId="2147484126"/>
        </pc:sldMasterMkLst>
        <pc:sldLayoutChg chg="delSp mod">
          <pc:chgData name="Manuela Pichler" userId="07a841c1-49c8-4352-a8c3-3a0d96cf9a08" providerId="ADAL" clId="{0941F924-3F24-4714-990E-9A8C08AAED65}" dt="2020-11-27T12:45:33.007" v="161" actId="478"/>
          <pc:sldLayoutMkLst>
            <pc:docMk/>
            <pc:sldMasterMk cId="868143962" sldId="2147484126"/>
            <pc:sldLayoutMk cId="285322430" sldId="2147484150"/>
          </pc:sldLayoutMkLst>
          <pc:spChg chg="del">
            <ac:chgData name="Manuela Pichler" userId="07a841c1-49c8-4352-a8c3-3a0d96cf9a08" providerId="ADAL" clId="{0941F924-3F24-4714-990E-9A8C08AAED65}" dt="2020-11-27T12:45:33.007" v="161" actId="478"/>
            <ac:spMkLst>
              <pc:docMk/>
              <pc:sldMasterMk cId="868143962" sldId="2147484126"/>
              <pc:sldLayoutMk cId="285322430" sldId="2147484150"/>
              <ac:spMk id="3" creationId="{7941EE98-1D5E-42BA-AC44-9CC0B043C811}"/>
            </ac:spMkLst>
          </pc:spChg>
        </pc:sldLayoutChg>
      </pc:sldMasterChg>
      <pc:sldMasterChg chg="addSldLayout delSldLayout modSldLayout">
        <pc:chgData name="Manuela Pichler" userId="07a841c1-49c8-4352-a8c3-3a0d96cf9a08" providerId="ADAL" clId="{0941F924-3F24-4714-990E-9A8C08AAED65}" dt="2020-11-27T13:08:50.888" v="504" actId="47"/>
        <pc:sldMasterMkLst>
          <pc:docMk/>
          <pc:sldMasterMk cId="2630714486" sldId="2147484220"/>
        </pc:sldMasterMkLst>
        <pc:sldLayoutChg chg="del">
          <pc:chgData name="Manuela Pichler" userId="07a841c1-49c8-4352-a8c3-3a0d96cf9a08" providerId="ADAL" clId="{0941F924-3F24-4714-990E-9A8C08AAED65}" dt="2020-11-27T12:51:16.969" v="234" actId="47"/>
          <pc:sldLayoutMkLst>
            <pc:docMk/>
            <pc:sldMasterMk cId="2630714486" sldId="2147484220"/>
            <pc:sldLayoutMk cId="4090564559" sldId="2147484240"/>
          </pc:sldLayoutMkLst>
        </pc:sldLayoutChg>
        <pc:sldLayoutChg chg="del">
          <pc:chgData name="Manuela Pichler" userId="07a841c1-49c8-4352-a8c3-3a0d96cf9a08" providerId="ADAL" clId="{0941F924-3F24-4714-990E-9A8C08AAED65}" dt="2020-11-27T12:54:47.687" v="313" actId="47"/>
          <pc:sldLayoutMkLst>
            <pc:docMk/>
            <pc:sldMasterMk cId="2630714486" sldId="2147484220"/>
            <pc:sldLayoutMk cId="742181837" sldId="2147484241"/>
          </pc:sldLayoutMkLst>
        </pc:sldLayoutChg>
        <pc:sldLayoutChg chg="del">
          <pc:chgData name="Manuela Pichler" userId="07a841c1-49c8-4352-a8c3-3a0d96cf9a08" providerId="ADAL" clId="{0941F924-3F24-4714-990E-9A8C08AAED65}" dt="2020-11-27T13:08:50.888" v="504" actId="47"/>
          <pc:sldLayoutMkLst>
            <pc:docMk/>
            <pc:sldMasterMk cId="2630714486" sldId="2147484220"/>
            <pc:sldLayoutMk cId="271711252" sldId="2147484245"/>
          </pc:sldLayoutMkLst>
        </pc:sldLayoutChg>
        <pc:sldLayoutChg chg="add mod">
          <pc:chgData name="Manuela Pichler" userId="07a841c1-49c8-4352-a8c3-3a0d96cf9a08" providerId="ADAL" clId="{0941F924-3F24-4714-990E-9A8C08AAED65}" dt="2020-11-27T12:51:33.431" v="235" actId="22"/>
          <pc:sldLayoutMkLst>
            <pc:docMk/>
            <pc:sldMasterMk cId="2630714486" sldId="2147484220"/>
            <pc:sldLayoutMk cId="2953967364" sldId="2147484247"/>
          </pc:sldLayoutMkLst>
        </pc:sldLayoutChg>
      </pc:sldMasterChg>
    </pc:docChg>
  </pc:docChgLst>
  <pc:docChgLst>
    <pc:chgData name="Manuela Pichler" userId="S::mapichle@microsoft.com::07a841c1-49c8-4352-a8c3-3a0d96cf9a08" providerId="AD" clId="Web-{877344CC-20A3-EEC3-E108-0CD252286FDE}"/>
    <pc:docChg chg="">
      <pc:chgData name="Manuela Pichler" userId="S::mapichle@microsoft.com::07a841c1-49c8-4352-a8c3-3a0d96cf9a08" providerId="AD" clId="Web-{877344CC-20A3-EEC3-E108-0CD252286FDE}" dt="2019-10-22T18:56:18.514" v="3"/>
      <pc:docMkLst>
        <pc:docMk/>
      </pc:docMkLst>
      <pc:sldChg chg="addCm">
        <pc:chgData name="Manuela Pichler" userId="S::mapichle@microsoft.com::07a841c1-49c8-4352-a8c3-3a0d96cf9a08" providerId="AD" clId="Web-{877344CC-20A3-EEC3-E108-0CD252286FDE}" dt="2019-10-22T18:55:06.157" v="1"/>
        <pc:sldMkLst>
          <pc:docMk/>
          <pc:sldMk cId="2567372822" sldId="10370"/>
        </pc:sldMkLst>
      </pc:sldChg>
      <pc:sldChg chg="addCm delCm">
        <pc:chgData name="Manuela Pichler" userId="S::mapichle@microsoft.com::07a841c1-49c8-4352-a8c3-3a0d96cf9a08" providerId="AD" clId="Web-{877344CC-20A3-EEC3-E108-0CD252286FDE}" dt="2019-10-22T18:56:18.514" v="3"/>
        <pc:sldMkLst>
          <pc:docMk/>
          <pc:sldMk cId="1114168887" sldId="2076136526"/>
        </pc:sldMkLst>
      </pc:sldChg>
    </pc:docChg>
  </pc:docChgLst>
  <pc:docChgLst>
    <pc:chgData name="Manuela Pichler" userId="07a841c1-49c8-4352-a8c3-3a0d96cf9a08" providerId="ADAL" clId="{9974FD44-66C4-4F61-8406-F1193065692B}"/>
    <pc:docChg chg="undo custSel addSld delSld modSld sldOrd modMainMaster modSection">
      <pc:chgData name="Manuela Pichler" userId="07a841c1-49c8-4352-a8c3-3a0d96cf9a08" providerId="ADAL" clId="{9974FD44-66C4-4F61-8406-F1193065692B}" dt="2020-01-29T11:59:42.156" v="93"/>
      <pc:docMkLst>
        <pc:docMk/>
      </pc:docMkLst>
      <pc:sldChg chg="modSp mod">
        <pc:chgData name="Manuela Pichler" userId="07a841c1-49c8-4352-a8c3-3a0d96cf9a08" providerId="ADAL" clId="{9974FD44-66C4-4F61-8406-F1193065692B}" dt="2020-01-29T11:12:22.518" v="31" actId="20577"/>
        <pc:sldMkLst>
          <pc:docMk/>
          <pc:sldMk cId="2796796935" sldId="260"/>
        </pc:sldMkLst>
        <pc:spChg chg="mod">
          <ac:chgData name="Manuela Pichler" userId="07a841c1-49c8-4352-a8c3-3a0d96cf9a08" providerId="ADAL" clId="{9974FD44-66C4-4F61-8406-F1193065692B}" dt="2020-01-29T11:12:22.518" v="31" actId="20577"/>
          <ac:spMkLst>
            <pc:docMk/>
            <pc:sldMk cId="2796796935" sldId="260"/>
            <ac:spMk id="20" creationId="{B1941FE7-B9EE-4D7F-AF79-84D6AFB4BD05}"/>
          </ac:spMkLst>
        </pc:spChg>
      </pc:sldChg>
      <pc:sldChg chg="del">
        <pc:chgData name="Manuela Pichler" userId="07a841c1-49c8-4352-a8c3-3a0d96cf9a08" providerId="ADAL" clId="{9974FD44-66C4-4F61-8406-F1193065692B}" dt="2020-01-29T11:11:37.212" v="0" actId="47"/>
        <pc:sldMkLst>
          <pc:docMk/>
          <pc:sldMk cId="1549337867" sldId="276"/>
        </pc:sldMkLst>
      </pc:sldChg>
      <pc:sldChg chg="del">
        <pc:chgData name="Manuela Pichler" userId="07a841c1-49c8-4352-a8c3-3a0d96cf9a08" providerId="ADAL" clId="{9974FD44-66C4-4F61-8406-F1193065692B}" dt="2020-01-29T11:16:00.896" v="45" actId="47"/>
        <pc:sldMkLst>
          <pc:docMk/>
          <pc:sldMk cId="1834007649" sldId="285"/>
        </pc:sldMkLst>
      </pc:sldChg>
      <pc:sldChg chg="addSp modSp add mod">
        <pc:chgData name="Manuela Pichler" userId="07a841c1-49c8-4352-a8c3-3a0d96cf9a08" providerId="ADAL" clId="{9974FD44-66C4-4F61-8406-F1193065692B}" dt="2020-01-29T11:12:08.834" v="7" actId="14100"/>
        <pc:sldMkLst>
          <pc:docMk/>
          <pc:sldMk cId="1028096835" sldId="329"/>
        </pc:sldMkLst>
        <pc:spChg chg="add mod">
          <ac:chgData name="Manuela Pichler" userId="07a841c1-49c8-4352-a8c3-3a0d96cf9a08" providerId="ADAL" clId="{9974FD44-66C4-4F61-8406-F1193065692B}" dt="2020-01-29T11:12:08.834" v="7" actId="14100"/>
          <ac:spMkLst>
            <pc:docMk/>
            <pc:sldMk cId="1028096835" sldId="329"/>
            <ac:spMk id="7" creationId="{9FB64139-4DA9-4B98-8A7C-8BAD2A4C8C0D}"/>
          </ac:spMkLst>
        </pc:spChg>
      </pc:sldChg>
      <pc:sldChg chg="addSp modSp add mod">
        <pc:chgData name="Manuela Pichler" userId="07a841c1-49c8-4352-a8c3-3a0d96cf9a08" providerId="ADAL" clId="{9974FD44-66C4-4F61-8406-F1193065692B}" dt="2020-01-29T11:12:00.500" v="4" actId="208"/>
        <pc:sldMkLst>
          <pc:docMk/>
          <pc:sldMk cId="606940257" sldId="423"/>
        </pc:sldMkLst>
        <pc:spChg chg="add mod">
          <ac:chgData name="Manuela Pichler" userId="07a841c1-49c8-4352-a8c3-3a0d96cf9a08" providerId="ADAL" clId="{9974FD44-66C4-4F61-8406-F1193065692B}" dt="2020-01-29T11:12:00.500" v="4" actId="208"/>
          <ac:spMkLst>
            <pc:docMk/>
            <pc:sldMk cId="606940257" sldId="423"/>
            <ac:spMk id="2" creationId="{B13BC75C-57B6-47EB-9E96-1D8815FAF681}"/>
          </ac:spMkLst>
        </pc:spChg>
      </pc:sldChg>
      <pc:sldChg chg="del">
        <pc:chgData name="Manuela Pichler" userId="07a841c1-49c8-4352-a8c3-3a0d96cf9a08" providerId="ADAL" clId="{9974FD44-66C4-4F61-8406-F1193065692B}" dt="2020-01-29T11:18:39.210" v="61" actId="47"/>
        <pc:sldMkLst>
          <pc:docMk/>
          <pc:sldMk cId="4018248340" sldId="709"/>
        </pc:sldMkLst>
      </pc:sldChg>
      <pc:sldChg chg="add ord">
        <pc:chgData name="Manuela Pichler" userId="07a841c1-49c8-4352-a8c3-3a0d96cf9a08" providerId="ADAL" clId="{9974FD44-66C4-4F61-8406-F1193065692B}" dt="2020-01-29T11:16:18.940" v="53"/>
        <pc:sldMkLst>
          <pc:docMk/>
          <pc:sldMk cId="600643286" sldId="1609"/>
        </pc:sldMkLst>
      </pc:sldChg>
      <pc:sldChg chg="add">
        <pc:chgData name="Manuela Pichler" userId="07a841c1-49c8-4352-a8c3-3a0d96cf9a08" providerId="ADAL" clId="{9974FD44-66C4-4F61-8406-F1193065692B}" dt="2020-01-29T11:18:41.333" v="62"/>
        <pc:sldMkLst>
          <pc:docMk/>
          <pc:sldMk cId="3182226437" sldId="1615"/>
        </pc:sldMkLst>
      </pc:sldChg>
      <pc:sldChg chg="add">
        <pc:chgData name="Manuela Pichler" userId="07a841c1-49c8-4352-a8c3-3a0d96cf9a08" providerId="ADAL" clId="{9974FD44-66C4-4F61-8406-F1193065692B}" dt="2020-01-29T11:13:43.721" v="37"/>
        <pc:sldMkLst>
          <pc:docMk/>
          <pc:sldMk cId="3008713261" sldId="1617"/>
        </pc:sldMkLst>
      </pc:sldChg>
      <pc:sldChg chg="add">
        <pc:chgData name="Manuela Pichler" userId="07a841c1-49c8-4352-a8c3-3a0d96cf9a08" providerId="ADAL" clId="{9974FD44-66C4-4F61-8406-F1193065692B}" dt="2020-01-29T11:15:56.771" v="44"/>
        <pc:sldMkLst>
          <pc:docMk/>
          <pc:sldMk cId="202220325" sldId="1618"/>
        </pc:sldMkLst>
      </pc:sldChg>
      <pc:sldChg chg="add">
        <pc:chgData name="Manuela Pichler" userId="07a841c1-49c8-4352-a8c3-3a0d96cf9a08" providerId="ADAL" clId="{9974FD44-66C4-4F61-8406-F1193065692B}" dt="2020-01-29T11:15:16.180" v="42"/>
        <pc:sldMkLst>
          <pc:docMk/>
          <pc:sldMk cId="3953323326" sldId="1619"/>
        </pc:sldMkLst>
      </pc:sldChg>
      <pc:sldChg chg="add">
        <pc:chgData name="Manuela Pichler" userId="07a841c1-49c8-4352-a8c3-3a0d96cf9a08" providerId="ADAL" clId="{9974FD44-66C4-4F61-8406-F1193065692B}" dt="2020-01-29T11:15:56.771" v="44"/>
        <pc:sldMkLst>
          <pc:docMk/>
          <pc:sldMk cId="1931372935" sldId="1620"/>
        </pc:sldMkLst>
      </pc:sldChg>
      <pc:sldChg chg="add">
        <pc:chgData name="Manuela Pichler" userId="07a841c1-49c8-4352-a8c3-3a0d96cf9a08" providerId="ADAL" clId="{9974FD44-66C4-4F61-8406-F1193065692B}" dt="2020-01-29T11:13:43.721" v="37"/>
        <pc:sldMkLst>
          <pc:docMk/>
          <pc:sldMk cId="247361136" sldId="1626"/>
        </pc:sldMkLst>
      </pc:sldChg>
      <pc:sldChg chg="mod modShow">
        <pc:chgData name="Manuela Pichler" userId="07a841c1-49c8-4352-a8c3-3a0d96cf9a08" providerId="ADAL" clId="{9974FD44-66C4-4F61-8406-F1193065692B}" dt="2020-01-29T11:22:39.076" v="72" actId="729"/>
        <pc:sldMkLst>
          <pc:docMk/>
          <pc:sldMk cId="1509565655" sldId="2467"/>
        </pc:sldMkLst>
      </pc:sldChg>
      <pc:sldChg chg="ord">
        <pc:chgData name="Manuela Pichler" userId="07a841c1-49c8-4352-a8c3-3a0d96cf9a08" providerId="ADAL" clId="{9974FD44-66C4-4F61-8406-F1193065692B}" dt="2020-01-29T11:16:16.156" v="51"/>
        <pc:sldMkLst>
          <pc:docMk/>
          <pc:sldMk cId="1096705017" sldId="10341"/>
        </pc:sldMkLst>
      </pc:sldChg>
      <pc:sldChg chg="del">
        <pc:chgData name="Manuela Pichler" userId="07a841c1-49c8-4352-a8c3-3a0d96cf9a08" providerId="ADAL" clId="{9974FD44-66C4-4F61-8406-F1193065692B}" dt="2020-01-29T11:16:12.611" v="49" actId="47"/>
        <pc:sldMkLst>
          <pc:docMk/>
          <pc:sldMk cId="4139367970" sldId="10342"/>
        </pc:sldMkLst>
      </pc:sldChg>
      <pc:sldChg chg="del mod modShow">
        <pc:chgData name="Manuela Pichler" userId="07a841c1-49c8-4352-a8c3-3a0d96cf9a08" providerId="ADAL" clId="{9974FD44-66C4-4F61-8406-F1193065692B}" dt="2020-01-29T11:16:57.324" v="55" actId="47"/>
        <pc:sldMkLst>
          <pc:docMk/>
          <pc:sldMk cId="2300666024" sldId="10356"/>
        </pc:sldMkLst>
      </pc:sldChg>
      <pc:sldChg chg="mod modShow">
        <pc:chgData name="Manuela Pichler" userId="07a841c1-49c8-4352-a8c3-3a0d96cf9a08" providerId="ADAL" clId="{9974FD44-66C4-4F61-8406-F1193065692B}" dt="2020-01-29T11:14:23.912" v="38" actId="729"/>
        <pc:sldMkLst>
          <pc:docMk/>
          <pc:sldMk cId="1664111615" sldId="10359"/>
        </pc:sldMkLst>
      </pc:sldChg>
      <pc:sldChg chg="del">
        <pc:chgData name="Manuela Pichler" userId="07a841c1-49c8-4352-a8c3-3a0d96cf9a08" providerId="ADAL" clId="{9974FD44-66C4-4F61-8406-F1193065692B}" dt="2020-01-29T11:15:20.814" v="43" actId="47"/>
        <pc:sldMkLst>
          <pc:docMk/>
          <pc:sldMk cId="1536371381" sldId="10368"/>
        </pc:sldMkLst>
      </pc:sldChg>
      <pc:sldChg chg="del">
        <pc:chgData name="Manuela Pichler" userId="07a841c1-49c8-4352-a8c3-3a0d96cf9a08" providerId="ADAL" clId="{9974FD44-66C4-4F61-8406-F1193065692B}" dt="2020-01-29T11:15:20.814" v="43" actId="47"/>
        <pc:sldMkLst>
          <pc:docMk/>
          <pc:sldMk cId="2567372822" sldId="10370"/>
        </pc:sldMkLst>
      </pc:sldChg>
      <pc:sldChg chg="del">
        <pc:chgData name="Manuela Pichler" userId="07a841c1-49c8-4352-a8c3-3a0d96cf9a08" providerId="ADAL" clId="{9974FD44-66C4-4F61-8406-F1193065692B}" dt="2020-01-29T11:15:20.814" v="43" actId="47"/>
        <pc:sldMkLst>
          <pc:docMk/>
          <pc:sldMk cId="3193056738" sldId="10371"/>
        </pc:sldMkLst>
      </pc:sldChg>
      <pc:sldChg chg="del">
        <pc:chgData name="Manuela Pichler" userId="07a841c1-49c8-4352-a8c3-3a0d96cf9a08" providerId="ADAL" clId="{9974FD44-66C4-4F61-8406-F1193065692B}" dt="2020-01-29T11:20:34.780" v="66" actId="47"/>
        <pc:sldMkLst>
          <pc:docMk/>
          <pc:sldMk cId="2383105058" sldId="10394"/>
        </pc:sldMkLst>
      </pc:sldChg>
      <pc:sldChg chg="del">
        <pc:chgData name="Manuela Pichler" userId="07a841c1-49c8-4352-a8c3-3a0d96cf9a08" providerId="ADAL" clId="{9974FD44-66C4-4F61-8406-F1193065692B}" dt="2020-01-29T11:13:42.043" v="36" actId="47"/>
        <pc:sldMkLst>
          <pc:docMk/>
          <pc:sldMk cId="2776419609" sldId="11157"/>
        </pc:sldMkLst>
      </pc:sldChg>
      <pc:sldChg chg="del">
        <pc:chgData name="Manuela Pichler" userId="07a841c1-49c8-4352-a8c3-3a0d96cf9a08" providerId="ADAL" clId="{9974FD44-66C4-4F61-8406-F1193065692B}" dt="2020-01-29T11:15:07.524" v="41" actId="47"/>
        <pc:sldMkLst>
          <pc:docMk/>
          <pc:sldMk cId="2617827122" sldId="11158"/>
        </pc:sldMkLst>
      </pc:sldChg>
      <pc:sldChg chg="del">
        <pc:chgData name="Manuela Pichler" userId="07a841c1-49c8-4352-a8c3-3a0d96cf9a08" providerId="ADAL" clId="{9974FD44-66C4-4F61-8406-F1193065692B}" dt="2020-01-29T11:16:00.896" v="45" actId="47"/>
        <pc:sldMkLst>
          <pc:docMk/>
          <pc:sldMk cId="4236643448" sldId="2076136430"/>
        </pc:sldMkLst>
      </pc:sldChg>
      <pc:sldChg chg="modSp mod">
        <pc:chgData name="Manuela Pichler" userId="07a841c1-49c8-4352-a8c3-3a0d96cf9a08" providerId="ADAL" clId="{9974FD44-66C4-4F61-8406-F1193065692B}" dt="2020-01-29T11:12:37.951" v="35" actId="20577"/>
        <pc:sldMkLst>
          <pc:docMk/>
          <pc:sldMk cId="1495987071" sldId="2076136433"/>
        </pc:sldMkLst>
        <pc:spChg chg="mod">
          <ac:chgData name="Manuela Pichler" userId="07a841c1-49c8-4352-a8c3-3a0d96cf9a08" providerId="ADAL" clId="{9974FD44-66C4-4F61-8406-F1193065692B}" dt="2020-01-29T11:12:37.951" v="35" actId="20577"/>
          <ac:spMkLst>
            <pc:docMk/>
            <pc:sldMk cId="1495987071" sldId="2076136433"/>
            <ac:spMk id="6" creationId="{28D902C9-8AC9-4CB5-AFE3-3DA9CBD915F5}"/>
          </ac:spMkLst>
        </pc:spChg>
        <pc:spChg chg="mod">
          <ac:chgData name="Manuela Pichler" userId="07a841c1-49c8-4352-a8c3-3a0d96cf9a08" providerId="ADAL" clId="{9974FD44-66C4-4F61-8406-F1193065692B}" dt="2020-01-29T11:12:35.187" v="32"/>
          <ac:spMkLst>
            <pc:docMk/>
            <pc:sldMk cId="1495987071" sldId="2076136433"/>
            <ac:spMk id="9" creationId="{42AF9D04-9B3F-4417-8AB9-A5C4CE7327B6}"/>
          </ac:spMkLst>
        </pc:spChg>
      </pc:sldChg>
      <pc:sldChg chg="del">
        <pc:chgData name="Manuela Pichler" userId="07a841c1-49c8-4352-a8c3-3a0d96cf9a08" providerId="ADAL" clId="{9974FD44-66C4-4F61-8406-F1193065692B}" dt="2020-01-29T11:13:42.043" v="36" actId="47"/>
        <pc:sldMkLst>
          <pc:docMk/>
          <pc:sldMk cId="2990651474" sldId="2076136434"/>
        </pc:sldMkLst>
      </pc:sldChg>
      <pc:sldChg chg="del">
        <pc:chgData name="Manuela Pichler" userId="07a841c1-49c8-4352-a8c3-3a0d96cf9a08" providerId="ADAL" clId="{9974FD44-66C4-4F61-8406-F1193065692B}" dt="2020-01-29T11:16:57.324" v="55" actId="47"/>
        <pc:sldMkLst>
          <pc:docMk/>
          <pc:sldMk cId="4289524203" sldId="2076136435"/>
        </pc:sldMkLst>
      </pc:sldChg>
      <pc:sldChg chg="del">
        <pc:chgData name="Manuela Pichler" userId="07a841c1-49c8-4352-a8c3-3a0d96cf9a08" providerId="ADAL" clId="{9974FD44-66C4-4F61-8406-F1193065692B}" dt="2020-01-29T11:16:57.324" v="55" actId="47"/>
        <pc:sldMkLst>
          <pc:docMk/>
          <pc:sldMk cId="2162789239" sldId="2076136436"/>
        </pc:sldMkLst>
      </pc:sldChg>
      <pc:sldChg chg="del">
        <pc:chgData name="Manuela Pichler" userId="07a841c1-49c8-4352-a8c3-3a0d96cf9a08" providerId="ADAL" clId="{9974FD44-66C4-4F61-8406-F1193065692B}" dt="2020-01-29T11:16:00.896" v="45" actId="47"/>
        <pc:sldMkLst>
          <pc:docMk/>
          <pc:sldMk cId="81794600" sldId="2076136444"/>
        </pc:sldMkLst>
      </pc:sldChg>
      <pc:sldChg chg="del">
        <pc:chgData name="Manuela Pichler" userId="07a841c1-49c8-4352-a8c3-3a0d96cf9a08" providerId="ADAL" clId="{9974FD44-66C4-4F61-8406-F1193065692B}" dt="2020-01-29T11:16:10.547" v="48" actId="47"/>
        <pc:sldMkLst>
          <pc:docMk/>
          <pc:sldMk cId="2232600153" sldId="2076136445"/>
        </pc:sldMkLst>
      </pc:sldChg>
      <pc:sldChg chg="del">
        <pc:chgData name="Manuela Pichler" userId="07a841c1-49c8-4352-a8c3-3a0d96cf9a08" providerId="ADAL" clId="{9974FD44-66C4-4F61-8406-F1193065692B}" dt="2020-01-29T11:22:07.623" v="68" actId="47"/>
        <pc:sldMkLst>
          <pc:docMk/>
          <pc:sldMk cId="4094586572" sldId="2076136525"/>
        </pc:sldMkLst>
      </pc:sldChg>
      <pc:sldChg chg="modSp mod">
        <pc:chgData name="Manuela Pichler" userId="07a841c1-49c8-4352-a8c3-3a0d96cf9a08" providerId="ADAL" clId="{9974FD44-66C4-4F61-8406-F1193065692B}" dt="2020-01-29T11:22:10.879" v="71" actId="6549"/>
        <pc:sldMkLst>
          <pc:docMk/>
          <pc:sldMk cId="1972666926" sldId="2076137784"/>
        </pc:sldMkLst>
        <pc:spChg chg="mod">
          <ac:chgData name="Manuela Pichler" userId="07a841c1-49c8-4352-a8c3-3a0d96cf9a08" providerId="ADAL" clId="{9974FD44-66C4-4F61-8406-F1193065692B}" dt="2020-01-29T11:22:10.879" v="71" actId="6549"/>
          <ac:spMkLst>
            <pc:docMk/>
            <pc:sldMk cId="1972666926" sldId="2076137784"/>
            <ac:spMk id="2" creationId="{6FD093B6-5D02-4EF2-90FC-F1C08DB4F626}"/>
          </ac:spMkLst>
        </pc:spChg>
      </pc:sldChg>
      <pc:sldChg chg="add del">
        <pc:chgData name="Manuela Pichler" userId="07a841c1-49c8-4352-a8c3-3a0d96cf9a08" providerId="ADAL" clId="{9974FD44-66C4-4F61-8406-F1193065692B}" dt="2020-01-29T11:18:20.062" v="60"/>
        <pc:sldMkLst>
          <pc:docMk/>
          <pc:sldMk cId="93019980" sldId="2076137867"/>
        </pc:sldMkLst>
      </pc:sldChg>
      <pc:sldChg chg="modSp add del mod">
        <pc:chgData name="Manuela Pichler" userId="07a841c1-49c8-4352-a8c3-3a0d96cf9a08" providerId="ADAL" clId="{9974FD44-66C4-4F61-8406-F1193065692B}" dt="2020-01-29T11:59:42.156" v="93"/>
        <pc:sldMkLst>
          <pc:docMk/>
          <pc:sldMk cId="3543312680" sldId="2076137868"/>
        </pc:sldMkLst>
        <pc:spChg chg="mod">
          <ac:chgData name="Manuela Pichler" userId="07a841c1-49c8-4352-a8c3-3a0d96cf9a08" providerId="ADAL" clId="{9974FD44-66C4-4F61-8406-F1193065692B}" dt="2020-01-29T11:59:42.156" v="93"/>
          <ac:spMkLst>
            <pc:docMk/>
            <pc:sldMk cId="3543312680" sldId="2076137868"/>
            <ac:spMk id="2" creationId="{E7EC8B1F-6289-C24C-9967-E34802AC757F}"/>
          </ac:spMkLst>
        </pc:spChg>
        <pc:spChg chg="mod">
          <ac:chgData name="Manuela Pichler" userId="07a841c1-49c8-4352-a8c3-3a0d96cf9a08" providerId="ADAL" clId="{9974FD44-66C4-4F61-8406-F1193065692B}" dt="2020-01-29T11:56:13.071" v="74" actId="1076"/>
          <ac:spMkLst>
            <pc:docMk/>
            <pc:sldMk cId="3543312680" sldId="2076137868"/>
            <ac:spMk id="7" creationId="{187D0945-1A96-6644-8AB0-35A8E493A4BE}"/>
          </ac:spMkLst>
        </pc:spChg>
      </pc:sldChg>
      <pc:sldChg chg="modSp add del mod">
        <pc:chgData name="Manuela Pichler" userId="07a841c1-49c8-4352-a8c3-3a0d96cf9a08" providerId="ADAL" clId="{9974FD44-66C4-4F61-8406-F1193065692B}" dt="2020-01-29T11:59:40.946" v="90" actId="1076"/>
        <pc:sldMkLst>
          <pc:docMk/>
          <pc:sldMk cId="1777779370" sldId="2076137869"/>
        </pc:sldMkLst>
        <pc:spChg chg="mod">
          <ac:chgData name="Manuela Pichler" userId="07a841c1-49c8-4352-a8c3-3a0d96cf9a08" providerId="ADAL" clId="{9974FD44-66C4-4F61-8406-F1193065692B}" dt="2020-01-29T11:59:40.946" v="90" actId="1076"/>
          <ac:spMkLst>
            <pc:docMk/>
            <pc:sldMk cId="1777779370" sldId="2076137869"/>
            <ac:spMk id="2" creationId="{E7EC8B1F-6289-C24C-9967-E34802AC757F}"/>
          </ac:spMkLst>
        </pc:spChg>
      </pc:sldChg>
      <pc:sldChg chg="add ord">
        <pc:chgData name="Manuela Pichler" userId="07a841c1-49c8-4352-a8c3-3a0d96cf9a08" providerId="ADAL" clId="{9974FD44-66C4-4F61-8406-F1193065692B}" dt="2020-01-29T11:14:50.370" v="40"/>
        <pc:sldMkLst>
          <pc:docMk/>
          <pc:sldMk cId="2912607834" sldId="2076137875"/>
        </pc:sldMkLst>
      </pc:sldChg>
      <pc:sldChg chg="add">
        <pc:chgData name="Manuela Pichler" userId="07a841c1-49c8-4352-a8c3-3a0d96cf9a08" providerId="ADAL" clId="{9974FD44-66C4-4F61-8406-F1193065692B}" dt="2020-01-29T11:15:56.771" v="44"/>
        <pc:sldMkLst>
          <pc:docMk/>
          <pc:sldMk cId="855816101" sldId="2076137876"/>
        </pc:sldMkLst>
      </pc:sldChg>
      <pc:sldChg chg="add">
        <pc:chgData name="Manuela Pichler" userId="07a841c1-49c8-4352-a8c3-3a0d96cf9a08" providerId="ADAL" clId="{9974FD44-66C4-4F61-8406-F1193065692B}" dt="2020-01-29T11:17:12.871" v="57"/>
        <pc:sldMkLst>
          <pc:docMk/>
          <pc:sldMk cId="2162861811" sldId="2076137877"/>
        </pc:sldMkLst>
      </pc:sldChg>
      <pc:sldChg chg="add">
        <pc:chgData name="Manuela Pichler" userId="07a841c1-49c8-4352-a8c3-3a0d96cf9a08" providerId="ADAL" clId="{9974FD44-66C4-4F61-8406-F1193065692B}" dt="2020-01-29T11:15:56.771" v="44"/>
        <pc:sldMkLst>
          <pc:docMk/>
          <pc:sldMk cId="2297110349" sldId="2076137879"/>
        </pc:sldMkLst>
      </pc:sldChg>
      <pc:sldChg chg="add">
        <pc:chgData name="Manuela Pichler" userId="07a841c1-49c8-4352-a8c3-3a0d96cf9a08" providerId="ADAL" clId="{9974FD44-66C4-4F61-8406-F1193065692B}" dt="2020-01-29T11:16:59.896" v="56"/>
        <pc:sldMkLst>
          <pc:docMk/>
          <pc:sldMk cId="3964158413" sldId="2076137880"/>
        </pc:sldMkLst>
      </pc:sldChg>
      <pc:sldChg chg="add">
        <pc:chgData name="Manuela Pichler" userId="07a841c1-49c8-4352-a8c3-3a0d96cf9a08" providerId="ADAL" clId="{9974FD44-66C4-4F61-8406-F1193065692B}" dt="2020-01-29T11:16:59.896" v="56"/>
        <pc:sldMkLst>
          <pc:docMk/>
          <pc:sldMk cId="4085786575" sldId="2076137881"/>
        </pc:sldMkLst>
      </pc:sldChg>
      <pc:sldChg chg="add">
        <pc:chgData name="Manuela Pichler" userId="07a841c1-49c8-4352-a8c3-3a0d96cf9a08" providerId="ADAL" clId="{9974FD44-66C4-4F61-8406-F1193065692B}" dt="2020-01-29T11:22:05.648" v="67"/>
        <pc:sldMkLst>
          <pc:docMk/>
          <pc:sldMk cId="4150057531" sldId="2076137882"/>
        </pc:sldMkLst>
      </pc:sldChg>
      <pc:sldMasterChg chg="delSldLayout">
        <pc:chgData name="Manuela Pichler" userId="07a841c1-49c8-4352-a8c3-3a0d96cf9a08" providerId="ADAL" clId="{9974FD44-66C4-4F61-8406-F1193065692B}" dt="2020-01-29T11:22:07.623" v="68" actId="47"/>
        <pc:sldMasterMkLst>
          <pc:docMk/>
          <pc:sldMasterMk cId="2644651193" sldId="2147483744"/>
        </pc:sldMasterMkLst>
        <pc:sldLayoutChg chg="del">
          <pc:chgData name="Manuela Pichler" userId="07a841c1-49c8-4352-a8c3-3a0d96cf9a08" providerId="ADAL" clId="{9974FD44-66C4-4F61-8406-F1193065692B}" dt="2020-01-29T11:16:00.896" v="45" actId="47"/>
          <pc:sldLayoutMkLst>
            <pc:docMk/>
            <pc:sldMasterMk cId="2644651193" sldId="2147483744"/>
            <pc:sldLayoutMk cId="2571524383" sldId="2147483879"/>
          </pc:sldLayoutMkLst>
        </pc:sldLayoutChg>
        <pc:sldLayoutChg chg="del">
          <pc:chgData name="Manuela Pichler" userId="07a841c1-49c8-4352-a8c3-3a0d96cf9a08" providerId="ADAL" clId="{9974FD44-66C4-4F61-8406-F1193065692B}" dt="2020-01-29T11:15:07.524" v="41" actId="47"/>
          <pc:sldLayoutMkLst>
            <pc:docMk/>
            <pc:sldMasterMk cId="2644651193" sldId="2147483744"/>
            <pc:sldLayoutMk cId="2536498191" sldId="2147483987"/>
          </pc:sldLayoutMkLst>
        </pc:sldLayoutChg>
        <pc:sldLayoutChg chg="del">
          <pc:chgData name="Manuela Pichler" userId="07a841c1-49c8-4352-a8c3-3a0d96cf9a08" providerId="ADAL" clId="{9974FD44-66C4-4F61-8406-F1193065692B}" dt="2020-01-29T11:16:00.896" v="45" actId="47"/>
          <pc:sldLayoutMkLst>
            <pc:docMk/>
            <pc:sldMasterMk cId="2644651193" sldId="2147483744"/>
            <pc:sldLayoutMk cId="775106274" sldId="2147483989"/>
          </pc:sldLayoutMkLst>
        </pc:sldLayoutChg>
        <pc:sldLayoutChg chg="del">
          <pc:chgData name="Manuela Pichler" userId="07a841c1-49c8-4352-a8c3-3a0d96cf9a08" providerId="ADAL" clId="{9974FD44-66C4-4F61-8406-F1193065692B}" dt="2020-01-29T11:16:10.547" v="48" actId="47"/>
          <pc:sldLayoutMkLst>
            <pc:docMk/>
            <pc:sldMasterMk cId="2644651193" sldId="2147483744"/>
            <pc:sldLayoutMk cId="3624774946" sldId="2147483990"/>
          </pc:sldLayoutMkLst>
        </pc:sldLayoutChg>
        <pc:sldLayoutChg chg="del">
          <pc:chgData name="Manuela Pichler" userId="07a841c1-49c8-4352-a8c3-3a0d96cf9a08" providerId="ADAL" clId="{9974FD44-66C4-4F61-8406-F1193065692B}" dt="2020-01-29T11:22:07.623" v="68" actId="47"/>
          <pc:sldLayoutMkLst>
            <pc:docMk/>
            <pc:sldMasterMk cId="2644651193" sldId="2147483744"/>
            <pc:sldLayoutMk cId="1547412724" sldId="2147483991"/>
          </pc:sldLayoutMkLst>
        </pc:sldLayoutChg>
        <pc:sldLayoutChg chg="del">
          <pc:chgData name="Manuela Pichler" userId="07a841c1-49c8-4352-a8c3-3a0d96cf9a08" providerId="ADAL" clId="{9974FD44-66C4-4F61-8406-F1193065692B}" dt="2020-01-29T11:11:37.212" v="0" actId="47"/>
          <pc:sldLayoutMkLst>
            <pc:docMk/>
            <pc:sldMasterMk cId="2644651193" sldId="2147483744"/>
            <pc:sldLayoutMk cId="3788266843" sldId="2147483997"/>
          </pc:sldLayoutMkLst>
        </pc:sldLayoutChg>
      </pc:sldMasterChg>
      <pc:sldMasterChg chg="modSldLayout">
        <pc:chgData name="Manuela Pichler" userId="07a841c1-49c8-4352-a8c3-3a0d96cf9a08" providerId="ADAL" clId="{9974FD44-66C4-4F61-8406-F1193065692B}" dt="2020-01-29T11:59:31.079" v="84" actId="18331"/>
        <pc:sldMasterMkLst>
          <pc:docMk/>
          <pc:sldMasterMk cId="1309625291" sldId="2147483962"/>
        </pc:sldMasterMkLst>
        <pc:sldLayoutChg chg="setBg">
          <pc:chgData name="Manuela Pichler" userId="07a841c1-49c8-4352-a8c3-3a0d96cf9a08" providerId="ADAL" clId="{9974FD44-66C4-4F61-8406-F1193065692B}" dt="2020-01-29T11:59:31.079" v="84" actId="18331"/>
          <pc:sldLayoutMkLst>
            <pc:docMk/>
            <pc:sldMasterMk cId="1309625291" sldId="2147483962"/>
            <pc:sldLayoutMk cId="2797555994" sldId="2147483972"/>
          </pc:sldLayoutMkLst>
        </pc:sldLayoutChg>
      </pc:sldMasterChg>
    </pc:docChg>
  </pc:docChgLst>
  <pc:docChgLst>
    <pc:chgData name="Pratap Ladhani" userId="3d4da799-6a66-4f70-9057-ada103025953" providerId="ADAL" clId="{C0067892-AD8B-4BF8-99B8-CBE84856DD84}"/>
    <pc:docChg chg="modSld">
      <pc:chgData name="Pratap Ladhani" userId="3d4da799-6a66-4f70-9057-ada103025953" providerId="ADAL" clId="{C0067892-AD8B-4BF8-99B8-CBE84856DD84}" dt="2019-12-17T23:52:41.509" v="7" actId="20577"/>
      <pc:docMkLst>
        <pc:docMk/>
      </pc:docMkLst>
      <pc:sldChg chg="modNotesTx">
        <pc:chgData name="Pratap Ladhani" userId="3d4da799-6a66-4f70-9057-ada103025953" providerId="ADAL" clId="{C0067892-AD8B-4BF8-99B8-CBE84856DD84}" dt="2019-12-17T23:52:41.509" v="7" actId="20577"/>
        <pc:sldMkLst>
          <pc:docMk/>
          <pc:sldMk cId="81794600" sldId="207613644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rgbClr val="0071BC"/>
        </a:solidFill>
      </dgm:spPr>
      <dgm:t>
        <a:bodyPr/>
        <a:lstStyle/>
        <a:p>
          <a:r>
            <a:rPr lang="en-US" sz="1400" dirty="0"/>
            <a:t>1. Sec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2. Monitor</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3. Alert and Action</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D997DA86-F3F1-4960-ADAB-5701E94D677F}">
      <dgm:prSet phldrT="[Text]" custT="1"/>
      <dgm:spPr>
        <a:solidFill>
          <a:schemeClr val="accent2"/>
        </a:solidFill>
      </dgm:spPr>
      <dgm:t>
        <a:bodyPr/>
        <a:lstStyle/>
        <a:p>
          <a:r>
            <a:rPr lang="en-US" sz="1400" dirty="0"/>
            <a:t>4. Deploy</a:t>
          </a:r>
        </a:p>
      </dgm:t>
    </dgm:pt>
    <dgm:pt modelId="{2902BDAD-E6C6-4168-9FB5-E35A8A990D13}" type="parTrans" cxnId="{5737477D-BAE9-40FC-9A38-A1305348B1D8}">
      <dgm:prSet/>
      <dgm:spPr/>
      <dgm:t>
        <a:bodyPr/>
        <a:lstStyle/>
        <a:p>
          <a:endParaRPr lang="en-US" sz="1050"/>
        </a:p>
      </dgm:t>
    </dgm:pt>
    <dgm:pt modelId="{EC44A3D5-B677-4D86-A923-0DF1F7C444BD}" type="sibTrans" cxnId="{5737477D-BAE9-40FC-9A38-A1305348B1D8}">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4">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4">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4">
        <dgm:presLayoutVars>
          <dgm:chMax val="0"/>
          <dgm:chPref val="0"/>
          <dgm:bulletEnabled val="1"/>
        </dgm:presLayoutVars>
      </dgm:prSet>
      <dgm:spPr/>
    </dgm:pt>
    <dgm:pt modelId="{7C8C62E6-4C2F-43F1-B5DD-D018E7445CB0}" type="pres">
      <dgm:prSet presAssocID="{FF856D35-181A-43E9-A907-FE2AC704D198}" presName="parTxOnlySpace" presStyleCnt="0"/>
      <dgm:spPr/>
    </dgm:pt>
    <dgm:pt modelId="{64A210BB-6EED-4293-A1F1-DDC7312CA022}" type="pres">
      <dgm:prSet presAssocID="{D997DA86-F3F1-4960-ADAB-5701E94D677F}" presName="parTxOnly" presStyleLbl="node1" presStyleIdx="3" presStyleCnt="4" custLinFactNeighborX="1718" custLinFactNeighborY="1159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5737477D-BAE9-40FC-9A38-A1305348B1D8}" srcId="{C39CB073-358F-4B60-B5AA-DF4EBBAA942D}" destId="{D997DA86-F3F1-4960-ADAB-5701E94D677F}" srcOrd="3" destOrd="0" parTransId="{2902BDAD-E6C6-4168-9FB5-E35A8A990D13}" sibTransId="{EC44A3D5-B677-4D86-A923-0DF1F7C444BD}"/>
    <dgm:cxn modelId="{B78E7091-27C4-4753-9DF7-8876F2DB6AF7}" srcId="{C39CB073-358F-4B60-B5AA-DF4EBBAA942D}" destId="{ECE2B6BF-34D3-4AD5-A7DE-60DBDB84BEB0}" srcOrd="0" destOrd="0" parTransId="{C500EBC5-F925-415F-940C-C83EE9ECB77D}" sibTransId="{2D154C83-AB22-426E-B580-7535E45B0977}"/>
    <dgm:cxn modelId="{4DF951F9-C29F-43D1-8C82-5C2586897713}" type="presOf" srcId="{D997DA86-F3F1-4960-ADAB-5701E94D677F}" destId="{64A210BB-6EED-4293-A1F1-DDC7312CA022}" srcOrd="0" destOrd="0" presId="urn:microsoft.com/office/officeart/2005/8/layout/chevron1"/>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 modelId="{3E60C8EB-F584-4AF6-BFF2-BDC07E674E13}" type="presParOf" srcId="{2F73842B-D9D0-4058-8789-5A88DE8B7A93}" destId="{7C8C62E6-4C2F-43F1-B5DD-D018E7445CB0}" srcOrd="5" destOrd="0" presId="urn:microsoft.com/office/officeart/2005/8/layout/chevron1"/>
    <dgm:cxn modelId="{7E487E26-473D-47C7-A29E-5B8CCB0679C9}" type="presParOf" srcId="{2F73842B-D9D0-4058-8789-5A88DE8B7A93}" destId="{64A210BB-6EED-4293-A1F1-DDC7312CA022}" srcOrd="6"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chemeClr val="accent2"/>
        </a:solidFill>
      </dgm:spPr>
      <dgm:t>
        <a:bodyPr/>
        <a:lstStyle/>
        <a:p>
          <a:r>
            <a:rPr lang="en-US" sz="1400" dirty="0"/>
            <a:t>5. Nurt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6. Infrastructure</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7. Support</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3" custLinFactNeighborX="-820" custLinFactNeighborY="15458">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3">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B78E7091-27C4-4753-9DF7-8876F2DB6AF7}" srcId="{C39CB073-358F-4B60-B5AA-DF4EBBAA942D}" destId="{ECE2B6BF-34D3-4AD5-A7DE-60DBDB84BEB0}" srcOrd="0" destOrd="0" parTransId="{C500EBC5-F925-415F-940C-C83EE9ECB77D}" sibTransId="{2D154C83-AB22-426E-B580-7535E45B0977}"/>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rgbClr val="243A5E"/>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dirty="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chemeClr val="bg1">
            <a:lumMod val="85000"/>
          </a:schemeClr>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3278" y="0"/>
          <a:ext cx="1908406" cy="501316"/>
        </a:xfrm>
        <a:prstGeom prst="chevron">
          <a:avLst/>
        </a:prstGeom>
        <a:solidFill>
          <a:srgbClr val="0071B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1. Secure</a:t>
          </a:r>
        </a:p>
      </dsp:txBody>
      <dsp:txXfrm>
        <a:off x="253936" y="0"/>
        <a:ext cx="1407090" cy="501316"/>
      </dsp:txXfrm>
    </dsp:sp>
    <dsp:sp modelId="{782221C6-1BC7-4268-8008-6F7806055A7E}">
      <dsp:nvSpPr>
        <dsp:cNvPr id="0" name=""/>
        <dsp:cNvSpPr/>
      </dsp:nvSpPr>
      <dsp:spPr>
        <a:xfrm>
          <a:off x="172084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2. Monitor</a:t>
          </a:r>
        </a:p>
      </dsp:txBody>
      <dsp:txXfrm>
        <a:off x="1971502" y="0"/>
        <a:ext cx="1407090" cy="501316"/>
      </dsp:txXfrm>
    </dsp:sp>
    <dsp:sp modelId="{55C41176-0155-4D93-8322-CE84F636E104}">
      <dsp:nvSpPr>
        <dsp:cNvPr id="0" name=""/>
        <dsp:cNvSpPr/>
      </dsp:nvSpPr>
      <dsp:spPr>
        <a:xfrm>
          <a:off x="3438410"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3. Alert and Action</a:t>
          </a:r>
        </a:p>
      </dsp:txBody>
      <dsp:txXfrm>
        <a:off x="3689068" y="0"/>
        <a:ext cx="1407090" cy="501316"/>
      </dsp:txXfrm>
    </dsp:sp>
    <dsp:sp modelId="{64A210BB-6EED-4293-A1F1-DDC7312CA022}">
      <dsp:nvSpPr>
        <dsp:cNvPr id="0" name=""/>
        <dsp:cNvSpPr/>
      </dsp:nvSpPr>
      <dsp:spPr>
        <a:xfrm>
          <a:off x="515925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4. Deploy</a:t>
          </a:r>
        </a:p>
      </dsp:txBody>
      <dsp:txXfrm>
        <a:off x="5409912" y="0"/>
        <a:ext cx="1407090" cy="5013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1"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5. Nurture</a:t>
          </a:r>
        </a:p>
      </dsp:txBody>
      <dsp:txXfrm>
        <a:off x="250659" y="0"/>
        <a:ext cx="1421162" cy="501316"/>
      </dsp:txXfrm>
    </dsp:sp>
    <dsp:sp modelId="{782221C6-1BC7-4268-8008-6F7806055A7E}">
      <dsp:nvSpPr>
        <dsp:cNvPr id="0" name=""/>
        <dsp:cNvSpPr/>
      </dsp:nvSpPr>
      <dsp:spPr>
        <a:xfrm>
          <a:off x="173180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6. Infrastructure</a:t>
          </a:r>
        </a:p>
      </dsp:txBody>
      <dsp:txXfrm>
        <a:off x="1982466" y="0"/>
        <a:ext cx="1421162" cy="501316"/>
      </dsp:txXfrm>
    </dsp:sp>
    <dsp:sp modelId="{55C41176-0155-4D93-8322-CE84F636E104}">
      <dsp:nvSpPr>
        <dsp:cNvPr id="0" name=""/>
        <dsp:cNvSpPr/>
      </dsp:nvSpPr>
      <dsp:spPr>
        <a:xfrm>
          <a:off x="346203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7. Support</a:t>
          </a:r>
        </a:p>
      </dsp:txBody>
      <dsp:txXfrm>
        <a:off x="3712696" y="0"/>
        <a:ext cx="1421162" cy="5013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Manage</a:t>
          </a:r>
        </a:p>
      </dsp:txBody>
      <dsp:txXfrm>
        <a:off x="5446928" y="0"/>
        <a:ext cx="2060858" cy="7543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chemeClr val="bg1">
            <a:lumMod val="8500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anage</a:t>
          </a:r>
        </a:p>
      </dsp:txBody>
      <dsp:txXfrm>
        <a:off x="5446928" y="0"/>
        <a:ext cx="2060858" cy="75437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D33840-C688-4B14-A456-58F097EED33F}" type="datetimeFigureOut">
              <a:rPr lang="en-US" smtClean="0"/>
              <a:t>6/1/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E28430-D78C-4B43-9B17-43AD4B3BD263}" type="slidenum">
              <a:rPr lang="en-US" smtClean="0"/>
              <a:t>‹#›</a:t>
            </a:fld>
            <a:endParaRPr lang="en-US" dirty="0"/>
          </a:p>
        </p:txBody>
      </p:sp>
    </p:spTree>
    <p:extLst>
      <p:ext uri="{BB962C8B-B14F-4D97-AF65-F5344CB8AC3E}">
        <p14:creationId xmlns:p14="http://schemas.microsoft.com/office/powerpoint/2010/main" val="2378047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SMSGR Readines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72656D-9D33-4A4B-97D3-78DF30F8BE39}" type="datetimeFigureOut">
              <a:rPr lang="en-US" smtClean="0"/>
              <a:t>6/1/2022</a:t>
            </a:fld>
            <a:endParaRPr lang="en-US" dirty="0"/>
          </a:p>
        </p:txBody>
      </p:sp>
      <p:sp>
        <p:nvSpPr>
          <p:cNvPr id="4" name="Slide Image Placeholder 3"/>
          <p:cNvSpPr>
            <a:spLocks noGrp="1" noRot="1" noChangeAspect="1"/>
          </p:cNvSpPr>
          <p:nvPr>
            <p:ph type="sldImg" idx="2"/>
          </p:nvPr>
        </p:nvSpPr>
        <p:spPr>
          <a:xfrm>
            <a:off x="3309983" y="827584"/>
            <a:ext cx="3456383" cy="1944216"/>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284984" y="2843808"/>
            <a:ext cx="3225354" cy="5256584"/>
          </a:xfrm>
          <a:prstGeom prst="rect">
            <a:avLst/>
          </a:prstGeom>
        </p:spPr>
        <p:txBody>
          <a:bodyPr vert="horz" lIns="91440" tIns="45720" rIns="91440" bIns="45720" rtlCol="0"/>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lick to edit Master text styles for presentation notes</a:t>
            </a:r>
          </a:p>
          <a:p>
            <a:pPr marL="228600" marR="0" lvl="1"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Second level</a:t>
            </a:r>
          </a:p>
          <a:p>
            <a:pPr marL="342900" marR="0" lvl="2"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Third level</a:t>
            </a:r>
          </a:p>
          <a:p>
            <a:pPr marL="457200" marR="0" lvl="3"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ourth level</a:t>
            </a:r>
          </a:p>
          <a:p>
            <a:pPr marL="571500" marR="0" lvl="4"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ifth level</a:t>
            </a:r>
          </a:p>
        </p:txBody>
      </p:sp>
      <p:sp>
        <p:nvSpPr>
          <p:cNvPr id="6" name="Footer Placeholder 5"/>
          <p:cNvSpPr>
            <a:spLocks noGrp="1"/>
          </p:cNvSpPr>
          <p:nvPr>
            <p:ph type="ftr" sz="quarter" idx="4"/>
          </p:nvPr>
        </p:nvSpPr>
        <p:spPr>
          <a:xfrm>
            <a:off x="0" y="8460432"/>
            <a:ext cx="6165304" cy="681981"/>
          </a:xfrm>
          <a:prstGeom prst="rect">
            <a:avLst/>
          </a:prstGeom>
        </p:spPr>
        <p:txBody>
          <a:bodyPr vert="horz" lIns="91440" tIns="45720" rIns="91440" bIns="45720" rtlCol="0" anchor="b"/>
          <a:lstStyle>
            <a:lvl1pPr algn="l">
              <a:defRPr sz="600"/>
            </a:lvl1pPr>
          </a:lstStyle>
          <a:p>
            <a:r>
              <a:rPr lang="en-GB" dirty="0"/>
              <a:t>© 2012 Microsoft Corporation. All rights reserved. Microsoft, Windows, Windows Vista and other product names are or may be registered trademarks and/or trademarks in the U.S. and/or other countries.</a:t>
            </a:r>
          </a:p>
          <a:p>
            <a:r>
              <a:rPr lang="en-GB" dirty="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GB" dirty="0"/>
            </a:br>
            <a:r>
              <a:rPr lang="en-GB" dirty="0"/>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65303" y="8460432"/>
            <a:ext cx="691109" cy="681981"/>
          </a:xfrm>
          <a:prstGeom prst="rect">
            <a:avLst/>
          </a:prstGeom>
        </p:spPr>
        <p:txBody>
          <a:bodyPr vert="horz" lIns="91440" tIns="45720" rIns="91440" bIns="45720" rtlCol="0" anchor="b"/>
          <a:lstStyle>
            <a:lvl1pPr algn="r">
              <a:defRPr sz="1200"/>
            </a:lvl1pPr>
          </a:lstStyle>
          <a:p>
            <a:fld id="{8CEEC488-DFA6-44D4-AFB0-C242488D84E3}" type="slidenum">
              <a:rPr lang="en-US" smtClean="0"/>
              <a:t>‹#›</a:t>
            </a:fld>
            <a:endParaRPr lang="en-US" dirty="0"/>
          </a:p>
        </p:txBody>
      </p:sp>
      <p:sp>
        <p:nvSpPr>
          <p:cNvPr id="8" name="Rectangle 7"/>
          <p:cNvSpPr/>
          <p:nvPr/>
        </p:nvSpPr>
        <p:spPr>
          <a:xfrm>
            <a:off x="457200" y="527050"/>
            <a:ext cx="6053138" cy="23177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2885" tIns="46442" rIns="92885" bIns="46442" anchor="ctr"/>
          <a:lstStyle/>
          <a:p>
            <a:pPr algn="ctr" fontAlgn="auto">
              <a:spcBef>
                <a:spcPts val="0"/>
              </a:spcBef>
              <a:spcAft>
                <a:spcPts val="0"/>
              </a:spcAft>
              <a:defRPr/>
            </a:pPr>
            <a:r>
              <a:rPr lang="en-US" dirty="0">
                <a:solidFill>
                  <a:schemeClr val="bg1"/>
                </a:solidFill>
              </a:rPr>
              <a:t> Facilitator Notes                   Slide and Script</a:t>
            </a:r>
          </a:p>
        </p:txBody>
      </p:sp>
      <p:cxnSp>
        <p:nvCxnSpPr>
          <p:cNvPr id="9" name="Straight Connector 8"/>
          <p:cNvCxnSpPr/>
          <p:nvPr/>
        </p:nvCxnSpPr>
        <p:spPr>
          <a:xfrm>
            <a:off x="3212976" y="533400"/>
            <a:ext cx="0" cy="7711008"/>
          </a:xfrm>
          <a:prstGeom prst="line">
            <a:avLst/>
          </a:prstGeom>
          <a:ln w="22225" cmpd="sng">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255665"/>
      </p:ext>
    </p:extLst>
  </p:cSld>
  <p:clrMap bg1="lt1" tx1="dk1" bg2="lt2" tx2="dk2" accent1="accent1" accent2="accent2" accent3="accent3" accent4="accent4" accent5="accent5" accent6="accent6" hlink="hlink" folHlink="folHlink"/>
  <p:notesStyle>
    <a:lvl1pPr marL="1143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1pPr>
    <a:lvl2pPr marL="2286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2pPr>
    <a:lvl3pPr marL="3429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3pPr>
    <a:lvl4pPr marL="4572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4pPr>
    <a:lvl5pPr marL="5715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license-requirements" TargetMode="External"/><Relationship Id="rId3" Type="http://schemas.openxmlformats.org/officeDocument/2006/relationships/hyperlink" Target="https://azure.microsoft.com/en-us/services/active-directory/" TargetMode="External"/><Relationship Id="rId7" Type="http://schemas.openxmlformats.org/officeDocument/2006/relationships/hyperlink" Target="https://tools.ietf.org/pdf/rfc6749.pdf"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azure.microsoft.com/en-us/pricing/details/active-directory/" TargetMode="External"/><Relationship Id="rId5" Type="http://schemas.openxmlformats.org/officeDocument/2006/relationships/hyperlink" Target="https://flow.microsoft.com/en-us/blog/security-governance-strategy/" TargetMode="External"/><Relationship Id="rId4" Type="http://schemas.openxmlformats.org/officeDocument/2006/relationships/hyperlink" Target="https://www.microsoft.com/security/blog/2019/04/25/microsoft-threat-protection-april-update/"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powerapps.microsoft.com/en-us/blog/establishing-an-environment-strategy-for-microsoft-power-platform/"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powerapps/maker/dev-community-plan"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review.docs.microsoft.com/en-us/power-platform/guidance/adoption/dlp-strategy"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review.docs.microsoft.com/en-us/power-platform/guidance/adoption/wiki-community"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power-platform/guidance/adoption/dlp-strategy" TargetMode="External"/><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https://docs.microsoft.com/en-us/power-platform/guidance/adoption/environment-strategy"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a:lnSpc>
                <a:spcPct val="100000"/>
              </a:lnSpc>
            </a:pPr>
            <a:r>
              <a:rPr lang="en-US" dirty="0"/>
              <a:t>To help empower your people and elevate their talents, Microsoft combined the capabilities of four services into a unique and powerful low-code development platform. While the Power Platform has capabilities which will impress any seasoned developer, it is designed to be </a:t>
            </a:r>
            <a:r>
              <a:rPr lang="en-US" sz="900" b="0" i="0" u="none" strike="noStrike" kern="1200" dirty="0">
                <a:solidFill>
                  <a:schemeClr val="tx1"/>
                </a:solidFill>
                <a:effectLst/>
                <a:latin typeface="Segoe UI Light" pitchFamily="34" charset="0"/>
                <a:ea typeface="+mn-ea"/>
                <a:cs typeface="+mn-cs"/>
              </a:rPr>
              <a:t>approachable and accessible to those in the best position to identify transformative applications – those who work on the front lines of a business.</a:t>
            </a:r>
          </a:p>
          <a:p>
            <a:pPr>
              <a:lnSpc>
                <a:spcPct val="100000"/>
              </a:lnSpc>
            </a:pPr>
            <a:endParaRPr lang="en-US" sz="900" b="0" i="0" u="none" strike="noStrike" kern="1200" dirty="0">
              <a:solidFill>
                <a:schemeClr val="tx1"/>
              </a:solidFill>
              <a:effectLst/>
              <a:latin typeface="Segoe UI Light" pitchFamily="34" charset="0"/>
              <a:ea typeface="+mn-ea"/>
              <a:cs typeface="+mn-cs"/>
            </a:endParaRPr>
          </a:p>
          <a:p>
            <a:pPr>
              <a:lnSpc>
                <a:spcPct val="100000"/>
              </a:lnSpc>
            </a:pPr>
            <a:r>
              <a:rPr lang="en-US" sz="900" b="0" i="0" u="none" strike="noStrike" kern="1200" dirty="0">
                <a:solidFill>
                  <a:schemeClr val="tx1"/>
                </a:solidFill>
                <a:effectLst/>
                <a:latin typeface="Segoe UI Light" pitchFamily="34" charset="0"/>
                <a:ea typeface="+mn-ea"/>
                <a:cs typeface="+mn-cs"/>
              </a:rPr>
              <a:t>Digital transformation means more efficient use of your data to gain insight which facilitates more intelligent business processes and decision-making. However, organizations cannot achieve this efficiency with only programmers, data scientists, and tech professionals because there simply are not enough of them. One of the foundational goals of the Power Platform is to empower the limitless potential of citizen developers who can use its capabilities to unlock insights and develop processes that would otherwise never surface.</a:t>
            </a:r>
          </a:p>
          <a:p>
            <a:pPr>
              <a:lnSpc>
                <a:spcPct val="100000"/>
              </a:lnSpc>
            </a:pPr>
            <a:endParaRPr lang="en-US" dirty="0"/>
          </a:p>
          <a:p>
            <a:pPr marL="0" marR="0" lvl="0" indent="0" algn="l" defTabSz="932742" rtl="0" eaLnBrk="1" fontAlgn="auto" latinLnBrk="0" hangingPunct="1">
              <a:lnSpc>
                <a:spcPct val="100000"/>
              </a:lnSpc>
              <a:spcBef>
                <a:spcPts val="0"/>
              </a:spcBef>
              <a:spcAft>
                <a:spcPts val="340"/>
              </a:spcAft>
              <a:buClrTx/>
              <a:buSzTx/>
              <a:buFontTx/>
              <a:buNone/>
              <a:tabLst/>
              <a:defRPr/>
            </a:pPr>
            <a:r>
              <a:rPr lang="en-US" dirty="0"/>
              <a:t>The Power Platform is </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a singular </a:t>
            </a:r>
            <a:r>
              <a:rPr kumimoji="0" lang="en-US" sz="900" b="0" i="0" u="none" strike="noStrike" kern="1200" cap="none" spc="0" normalizeH="0" baseline="0" noProof="0" dirty="0">
                <a:ln>
                  <a:noFill/>
                </a:ln>
                <a:solidFill>
                  <a:srgbClr val="505050"/>
                </a:solidFill>
                <a:effectLst/>
                <a:uLnTx/>
                <a:uFillTx/>
                <a:latin typeface="Segoe UI Semibold"/>
                <a:ea typeface="+mn-ea"/>
                <a:cs typeface="Segoe UI Semilight" panose="020B0402040204020203" pitchFamily="34" charset="0"/>
              </a:rPr>
              <a:t>low-code</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 platform that spans Office 365, Dynamics 365, Azure and standalone applications.</a:t>
            </a:r>
          </a:p>
          <a:p>
            <a:pPr marL="0" marR="0" lvl="0" indent="0" algn="l" defTabSz="932742" rtl="0" eaLnBrk="1" fontAlgn="auto" latinLnBrk="0" hangingPunct="1">
              <a:lnSpc>
                <a:spcPct val="10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0"/>
              </a:spcBef>
              <a:spcAft>
                <a:spcPts val="340"/>
              </a:spcAft>
              <a:buClrTx/>
              <a:buSzTx/>
              <a:buFontTx/>
              <a:buNone/>
              <a:tabLst/>
              <a:defRPr/>
            </a:pPr>
            <a:r>
              <a:rPr lang="en-US" sz="900" dirty="0"/>
              <a:t>Today we’re going to dive deeper into Power Virtual Agents which enables a no code method of creating powerful chatbots for a wide variety of use cases.</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48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indent="0">
              <a:buNone/>
            </a:pPr>
            <a:r>
              <a:rPr lang="en-US" dirty="0"/>
              <a:t>Note: Power apps admin is admin.powerapps.com and is where you would create environments you can get there from admin.powerplatform.microsoft.com</a:t>
            </a:r>
          </a:p>
          <a:p>
            <a:pPr marL="0" indent="0">
              <a:buNone/>
            </a:pPr>
            <a:endParaRPr lang="en-US" dirty="0"/>
          </a:p>
          <a:p>
            <a:pPr marL="0" indent="0">
              <a:buNone/>
            </a:pPr>
            <a:r>
              <a:rPr lang="en-US" dirty="0"/>
              <a:t>If CSP they'd need to go to partner.microsoft.com/dashboard to manage their clients' licens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05250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466618" lvl="1" indent="0">
              <a:buFont typeface="Arial" panose="020B0604020202020204" pitchFamily="34" charset="0"/>
              <a:buNone/>
            </a:pPr>
            <a:endParaRPr lang="en-US" dirty="0"/>
          </a:p>
          <a:p>
            <a:pPr marL="466618" lvl="1" indent="0">
              <a:buFont typeface="Arial" panose="020B0604020202020204" pitchFamily="34" charset="0"/>
              <a:buNone/>
            </a:pPr>
            <a:r>
              <a:rPr lang="en-US" dirty="0"/>
              <a:t>As you all know, as  a powerful low code/no-code platform, Power Platform brings with it all the strong security and compliance features of Azure and AAD on the table. In addition to all the standard Microsoft 1</a:t>
            </a:r>
            <a:r>
              <a:rPr lang="en-US" baseline="30000" dirty="0"/>
              <a:t>st</a:t>
            </a:r>
            <a:r>
              <a:rPr lang="en-US" dirty="0"/>
              <a:t> party security constructs Power Platform has many targeted governance capabilities that are focused on securing its unique app-flow-bot-</a:t>
            </a:r>
            <a:r>
              <a:rPr lang="en-US" dirty="0" err="1"/>
              <a:t>CommonDataService</a:t>
            </a:r>
            <a:r>
              <a:rPr lang="en-US" dirty="0"/>
              <a:t> and connector ecosystems. Like all good security strategies, Power Platform security offerings are a multi-layered cake and offer defense in depth</a:t>
            </a:r>
          </a:p>
          <a:p>
            <a:pPr marL="641600" lvl="1" indent="-174982">
              <a:buFont typeface="Arial" panose="020B0604020202020204" pitchFamily="34" charset="0"/>
              <a:buChar cha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In addition to the existing capabilities highlighted on the slide, we are working relentlessly to bring some very exciting new security features to you in this calendar year. </a:t>
            </a:r>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These will further strengthen the security and trust pillar for Power Platform deployment in your enterprise. During the presentation we will also navigate through some demos! Do please note that some of these features are currently in private preview or yet to be releas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o lets dive right in and learn more about them.</a:t>
            </a:r>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536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0984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0481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1</a:t>
            </a:fld>
            <a:endParaRPr lang="en-US" dirty="0"/>
          </a:p>
        </p:txBody>
      </p:sp>
    </p:spTree>
    <p:extLst>
      <p:ext uri="{BB962C8B-B14F-4D97-AF65-F5344CB8AC3E}">
        <p14:creationId xmlns:p14="http://schemas.microsoft.com/office/powerpoint/2010/main" val="1964036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a:cs typeface="Segoe UI Light"/>
                <a:hlinkClick r:id="rId3"/>
              </a:rPr>
              <a:t>Azure Active Directory (Azure AD)</a:t>
            </a:r>
            <a:r>
              <a:rPr lang="en-US" sz="900" b="0" i="0" u="none" strike="noStrike" kern="1200" dirty="0">
                <a:solidFill>
                  <a:schemeClr val="tx1"/>
                </a:solidFill>
                <a:effectLst/>
                <a:latin typeface="Segoe UI Light"/>
                <a:cs typeface="Segoe UI Light"/>
              </a:rPr>
              <a:t>, is </a:t>
            </a:r>
            <a:r>
              <a:rPr lang="en-US" sz="900" b="0" i="0" u="none" strike="noStrike" kern="1200" dirty="0">
                <a:solidFill>
                  <a:schemeClr val="tx1"/>
                </a:solidFill>
                <a:effectLst/>
                <a:latin typeface="Segoe UI Light"/>
                <a:cs typeface="Segoe UI Light"/>
                <a:hlinkClick r:id="rId4"/>
              </a:rPr>
              <a:t>one of the world’s most sophisticated, comprehensive, and secure identity and access management services</a:t>
            </a:r>
            <a:r>
              <a:rPr lang="en-US" sz="900" b="0" i="0" u="none" strike="noStrike" kern="1200" dirty="0">
                <a:solidFill>
                  <a:schemeClr val="tx1"/>
                </a:solidFill>
                <a:effectLst/>
                <a:latin typeface="Segoe UI Light"/>
                <a:cs typeface="Segoe UI Light"/>
              </a:rPr>
              <a:t>. Azure AD helps secure the citizen developer by protecting against identity compromise, gives the IT admin/pro visibility and control, and offers additional security capabilities for the pro developer. Azure AD helps support the </a:t>
            </a:r>
            <a:r>
              <a:rPr lang="en-US" sz="900" b="0" i="0" u="none" strike="noStrike" kern="1200" dirty="0">
                <a:solidFill>
                  <a:schemeClr val="tx1"/>
                </a:solidFill>
                <a:effectLst/>
                <a:latin typeface="Segoe UI Light"/>
                <a:cs typeface="Segoe UI Light"/>
                <a:hlinkClick r:id="rId5"/>
              </a:rPr>
              <a:t>least privilege strategy</a:t>
            </a:r>
            <a:r>
              <a:rPr lang="en-US" sz="900" b="0" i="0" u="none" strike="noStrike" kern="1200" dirty="0">
                <a:solidFill>
                  <a:schemeClr val="tx1"/>
                </a:solidFill>
                <a:effectLst/>
                <a:latin typeface="Segoe UI Light"/>
                <a:cs typeface="Segoe UI Light"/>
              </a:rPr>
              <a:t>. Azure AD also follows a federated model, so organizations not directly using the service are still secure. Authentication to Power Automate and Power Apps is via Azure AD, admins using its </a:t>
            </a:r>
            <a:r>
              <a:rPr lang="en-US" sz="900" b="0" i="0" u="none" strike="noStrike" kern="1200" dirty="0">
                <a:solidFill>
                  <a:schemeClr val="tx1"/>
                </a:solidFill>
                <a:effectLst/>
                <a:latin typeface="Segoe UI Light"/>
                <a:cs typeface="Segoe UI Light"/>
                <a:hlinkClick r:id="rId6"/>
              </a:rPr>
              <a:t>premium features</a:t>
            </a:r>
            <a:r>
              <a:rPr lang="en-US" sz="900" b="0" i="0" u="none" strike="noStrike" kern="1200" dirty="0">
                <a:solidFill>
                  <a:schemeClr val="tx1"/>
                </a:solidFill>
                <a:effectLst/>
                <a:latin typeface="Segoe UI Light"/>
                <a:cs typeface="Segoe UI Light"/>
              </a:rPr>
              <a:t> can create conditional access policies which restrict user access to only the apps and data relevant for their role. Power Automate and Power Apps integration with Azure AD also enhances security for more experienced developers who can register applications with the service and leverage multiple authentication protocols, including the </a:t>
            </a:r>
            <a:r>
              <a:rPr lang="en-US" sz="900" b="0" i="0" u="none" strike="noStrike" kern="1200" dirty="0">
                <a:solidFill>
                  <a:schemeClr val="tx1"/>
                </a:solidFill>
                <a:effectLst/>
                <a:latin typeface="Segoe UI Light"/>
                <a:cs typeface="Segoe UI Light"/>
                <a:hlinkClick r:id="rId7"/>
              </a:rPr>
              <a:t>OAuth2 authorization framework</a:t>
            </a:r>
            <a:r>
              <a:rPr lang="en-US" sz="900" b="0" i="0" u="none" strike="noStrike" kern="1200" dirty="0">
                <a:solidFill>
                  <a:schemeClr val="tx1"/>
                </a:solidFill>
                <a:effectLst/>
                <a:latin typeface="Segoe UI Light"/>
                <a:cs typeface="Segoe UI Light"/>
              </a:rPr>
              <a:t> to enable their code to access platform APIs. This access protection can also be extended to external users.</a:t>
            </a:r>
            <a:endParaRPr lang="en-US" dirty="0">
              <a:latin typeface="Segoe UI Light"/>
              <a:cs typeface="Segoe UI Light"/>
            </a:endParaRPr>
          </a:p>
          <a:p>
            <a:pPr>
              <a:lnSpc>
                <a:spcPct val="90000"/>
              </a:lnSpc>
              <a:spcAft>
                <a:spcPts val="340"/>
              </a:spcAft>
            </a:pPr>
            <a:endParaRPr lang="en-US" sz="900" dirty="0">
              <a:latin typeface="Segoe UI Light"/>
              <a:cs typeface="Segoe UI Light"/>
            </a:endParaRPr>
          </a:p>
          <a:p>
            <a:pPr>
              <a:lnSpc>
                <a:spcPct val="90000"/>
              </a:lnSpc>
              <a:spcAft>
                <a:spcPts val="340"/>
              </a:spcAft>
            </a:pPr>
            <a:r>
              <a:rPr lang="en-US" sz="900" dirty="0">
                <a:latin typeface="Segoe UI Light"/>
                <a:cs typeface="Segoe UI Light"/>
              </a:rPr>
              <a:t>AAD Conditional access requires </a:t>
            </a:r>
            <a:r>
              <a:rPr lang="en-US" sz="900" dirty="0">
                <a:latin typeface="Segoe UI Light"/>
                <a:cs typeface="Segoe UI Light"/>
                <a:hlinkClick r:id="rId8"/>
              </a:rPr>
              <a:t>premium licenses</a:t>
            </a:r>
            <a:r>
              <a:rPr lang="en-US" sz="900" dirty="0">
                <a:latin typeface="Segoe UI Light"/>
                <a:cs typeface="Segoe UI Light"/>
              </a:rPr>
              <a:t>. Conditional access is not yet fully supported by Power Platform – AAD's authentication pipeline will support the conditional access policies defined, but if a policy change occurs while a user is signed in to Power Platform, the user will continue to remain signed in until their authentication token refreshes or they logout.</a:t>
            </a:r>
            <a:endParaRPr lang="en-IN" dirty="0"/>
          </a:p>
          <a:p>
            <a:pPr marL="628650" lvl="1" indent="-171450">
              <a:buFont typeface="Arial" panose="020B0604020202020204" pitchFamily="34" charset="0"/>
              <a:buChar char="•"/>
            </a:pPr>
            <a:endParaRPr lang="en-IN" dirty="0"/>
          </a:p>
          <a:p>
            <a:pPr marL="171450" indent="-171450">
              <a:buFont typeface="Arial" panose="020B0604020202020204" pitchFamily="34" charset="0"/>
              <a:buChar cha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973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Define your organizational roles to ensure that appropriate people have the right permissions for their required roles. Use elevated privileges like M365 Global Admin, Power Platform Service Admin, Dynamics 365 Service Admin for elevated administration access to Power Platform environments and users. Administration of Power Platform environments can be delegated to admins of a guest tenant by using Microsoft's Partner Center to define Delegated Admins and their permissions.</a:t>
            </a:r>
          </a:p>
          <a:p>
            <a:endParaRPr lang="en-US"/>
          </a:p>
          <a:p>
            <a:pPr marL="171450" indent="-171450">
              <a:buFont typeface="Arial" panose="020B0604020202020204" pitchFamily="34" charset="0"/>
              <a:buChar char="•"/>
            </a:pPr>
            <a:endParaRPr lang="en-US">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662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5664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44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25% of professional developers have already embraced low code application development to automate repetitive aspects of the dev ops life cycle. </a:t>
            </a:r>
          </a:p>
          <a:p>
            <a:r>
              <a:rPr lang="en-US" dirty="0"/>
              <a:t>500 million applications will be developed in the next 5 years. </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3510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a:t>Recipes that define the types of apps and flows that can be created </a:t>
            </a:r>
          </a:p>
          <a:p>
            <a:r>
              <a:rPr lang="en-GB"/>
              <a:t>300+ connectors </a:t>
            </a:r>
          </a:p>
          <a:p>
            <a:r>
              <a:rPr lang="en-GB"/>
              <a:t>DLP classify into business and non-business data (give an example) </a:t>
            </a:r>
          </a:p>
          <a:p>
            <a:endParaRPr lang="en-GB"/>
          </a:p>
        </p:txBody>
      </p:sp>
      <p:sp>
        <p:nvSpPr>
          <p:cNvPr id="4" name="Foliennummernplatzhalter 3"/>
          <p:cNvSpPr>
            <a:spLocks noGrp="1"/>
          </p:cNvSpPr>
          <p:nvPr>
            <p:ph type="sldNum" sz="quarter" idx="5"/>
          </p:nvPr>
        </p:nvSpPr>
        <p:spPr/>
        <p:txBody>
          <a:bodyPr/>
          <a:lstStyle/>
          <a:p>
            <a:fld id="{782CBF85-FDE2-4BA6-AF9F-D1F75459F4FF}" type="slidenum">
              <a:rPr lang="en-US" smtClean="0"/>
              <a:t>28</a:t>
            </a:fld>
            <a:endParaRPr lang="en-US"/>
          </a:p>
        </p:txBody>
      </p:sp>
    </p:spTree>
    <p:extLst>
      <p:ext uri="{BB962C8B-B14F-4D97-AF65-F5344CB8AC3E}">
        <p14:creationId xmlns:p14="http://schemas.microsoft.com/office/powerpoint/2010/main" val="668680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4234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wer Platform is built in distinct environments. Environments are containers that administrators can use to manage apps, flows, connections, and other assets; along with permissions to allow organization users to use the resources.  Environments are tied to a geographic location that is configured at the time the environment is created.  Environments can be used to target different audiences and/or for different purposes such as dev, test and production.  The actual number and purpose of environments in your tenant is up to you as an administrator. </a:t>
            </a:r>
            <a:endParaRPr lang="en-US" sz="1200">
              <a:solidFill>
                <a:schemeClr val="tx1"/>
              </a:solidFill>
            </a:endParaRPr>
          </a:p>
          <a:p>
            <a:endParaRPr lang="en-US" sz="1200">
              <a:solidFill>
                <a:schemeClr val="tx1"/>
              </a:solidFill>
            </a:endParaRPr>
          </a:p>
          <a:p>
            <a:endParaRPr lang="en-US" sz="1200">
              <a:solidFill>
                <a:schemeClr val="tx1"/>
              </a:solidFill>
            </a:endParaRPr>
          </a:p>
          <a:p>
            <a:r>
              <a:rPr lang="en-US" sz="1200">
                <a:solidFill>
                  <a:schemeClr val="tx1"/>
                </a:solidFill>
              </a:rPr>
              <a:t>There are some key facts you should know about environments:</a:t>
            </a:r>
          </a:p>
          <a:p>
            <a:endParaRPr lang="en-US" sz="1200">
              <a:solidFill>
                <a:schemeClr val="tx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are tied to a geographic location that is configured at the time the environment is creat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can be used to target different audiences and/or for different purposes such as dev, test and produ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very tenant has a Default environment where all licensed PowerApps and Flow users can create apps &amp; flow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s offer more control around permiss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 creation can be restricted to only global and service admins from the Power Platform admin center: </a:t>
            </a:r>
            <a:r>
              <a:rPr lang="en-US" sz="1200">
                <a:solidFill>
                  <a:schemeClr val="accent5"/>
                </a:solidFill>
                <a:hlinkClick r:id="rId3"/>
              </a:rPr>
              <a:t>https://aka.ms/ppac</a:t>
            </a:r>
            <a:r>
              <a:rPr lang="en-US" sz="1200">
                <a:solidFill>
                  <a:schemeClr val="accent5"/>
                </a:solidFill>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21414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As we mentioned, there are different types of environments ranging from trial to produ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719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Default for people to get started, build apps for their teams</a:t>
            </a:r>
          </a:p>
          <a:p>
            <a:endParaRPr lang="en-GB" dirty="0"/>
          </a:p>
          <a:p>
            <a:r>
              <a:rPr lang="en-GB" dirty="0">
                <a:hlinkClick r:id="rId3"/>
              </a:rPr>
              <a:t>https://Power Apps.microsoft.com/en-us/blog/establishing-an-environment-strategy-for-microsoft-power-platform/</a:t>
            </a:r>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858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Default Environment</a:t>
            </a:r>
          </a:p>
          <a:p>
            <a:pPr algn="l"/>
            <a:r>
              <a:rPr lang="en-GB" b="0" i="0" dirty="0">
                <a:solidFill>
                  <a:srgbClr val="171717"/>
                </a:solidFill>
                <a:effectLst/>
                <a:latin typeface="Segoe UI" panose="020B0502040204020203" pitchFamily="34" charset="0"/>
              </a:rPr>
              <a:t>Everyone in your tenant has permissions to create apps and flows here. There currently is no way to block the Environment Maker role assignment in this environment. This is also the environment that is used for first party integrations, like creating an app from a SharePoint list. Learn more: The default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o reduce risk to data, the types of connectors used in your apps and flows should be limited to a restrictive DLP policy. This policy should cover common individual and small team productivity use cases, like working with SharePoint data, sending emails, and having an approval workflow.</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Power User Environment</a:t>
            </a:r>
          </a:p>
          <a:p>
            <a:pPr algn="l"/>
            <a:r>
              <a:rPr lang="en-GB" b="0" i="0" dirty="0">
                <a:solidFill>
                  <a:srgbClr val="171717"/>
                </a:solidFill>
                <a:effectLst/>
                <a:latin typeface="Segoe UI" panose="020B0502040204020203" pitchFamily="34" charset="0"/>
              </a:rPr>
              <a:t>While the Default environment covers many use cases, some power users will have more advanced needs for their apps and flows, like integrating with Microsoft Teams, Azure AD or Azure DevOps.</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For this purpose, we recommend creating a Power User environment. This shared environment should use less risk averse DLP policies and admins should strictly control the maker list to this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User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Users environment - for example using Microsoft Forms, a SharePoint site or an app. If required, this process could include approval by the line manager or IT.</a:t>
            </a:r>
          </a:p>
          <a:p>
            <a:pPr algn="l"/>
            <a:r>
              <a:rPr lang="en-GB" b="0" i="0" dirty="0">
                <a:solidFill>
                  <a:srgbClr val="171717"/>
                </a:solidFill>
                <a:effectLst/>
                <a:latin typeface="Segoe UI" panose="020B0502040204020203" pitchFamily="34" charset="0"/>
              </a:rPr>
              <a:t>Power Dev Environment</a:t>
            </a:r>
          </a:p>
          <a:p>
            <a:pPr algn="l"/>
            <a:r>
              <a:rPr lang="en-GB" b="0" i="0" dirty="0">
                <a:solidFill>
                  <a:srgbClr val="171717"/>
                </a:solidFill>
                <a:effectLst/>
                <a:latin typeface="Segoe UI" panose="020B0502040204020203" pitchFamily="34" charset="0"/>
              </a:rPr>
              <a:t>The Power Dev environment is a shared environment intended to be used by experienced developers to build more complex apps and flows. More powerful connectors, like SQL Server, Azure Blob Storage, and Azure Functions are available for use.</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Dev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Dev environment - for example using Microsoft Forms, a SharePoint site or an app. If required, this process could include approval by the line manager or I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In addition to the trial plans, there is also a free Power Apps community plan. This is a special plan that allows individual self-service sign-up and it provides an individual environment that the user can use to build apps and workflows. As the environments are for individual use, there is no ability to share with other users. However, solutions can be exported from this environment and into another environment – it is not recommended to use this type of license for enterprise development purposes.</a:t>
            </a:r>
          </a:p>
          <a:p>
            <a:pPr algn="l"/>
            <a:r>
              <a:rPr lang="en-GB" b="0" i="0" dirty="0">
                <a:solidFill>
                  <a:srgbClr val="171717"/>
                </a:solidFill>
                <a:effectLst/>
                <a:latin typeface="Segoe UI" panose="020B0502040204020203" pitchFamily="34" charset="0"/>
              </a:rPr>
              <a:t>These environments will show up on the administrator’s list of environments and will list the type of environment as Developer.</a:t>
            </a:r>
          </a:p>
          <a:p>
            <a:pPr algn="l"/>
            <a:r>
              <a:rPr lang="en-GB" b="0" i="0" dirty="0">
                <a:solidFill>
                  <a:srgbClr val="171717"/>
                </a:solidFill>
                <a:effectLst/>
                <a:latin typeface="Segoe UI" panose="020B0502040204020203" pitchFamily="34" charset="0"/>
              </a:rPr>
              <a:t>Users in your organization can self-service sign-up for this plan even if they have Power Apps and Power Automate license entitlements via another licensing plan. Find more details on its features at </a:t>
            </a:r>
            <a:r>
              <a:rPr lang="en-GB" b="0" i="0" u="none" strike="noStrike" dirty="0">
                <a:solidFill>
                  <a:srgbClr val="171717"/>
                </a:solidFill>
                <a:effectLst/>
                <a:latin typeface="Segoe UI" panose="020B0502040204020203" pitchFamily="34" charset="0"/>
                <a:hlinkClick r:id="rId3"/>
              </a:rPr>
              <a:t>Power Apps Community Plan</a:t>
            </a:r>
            <a:r>
              <a:rPr lang="en-GB" b="0" i="0" dirty="0">
                <a:solidFill>
                  <a:srgbClr val="171717"/>
                </a:solidFill>
                <a:effectLst/>
                <a:latin typeface="Segoe UI" panose="020B0502040204020203" pitchFamily="34" charset="0"/>
              </a:rPr>
              <a:t>.</a:t>
            </a:r>
          </a:p>
          <a:p>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36</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While the shared environments cover many use cases for applications, teams and projects may benefit from having custom environment to support their business unit specific use cases or Application Lifecycle Management scenarios.</a:t>
            </a:r>
          </a:p>
          <a:p>
            <a:pPr algn="l"/>
            <a:r>
              <a:rPr lang="en-GB" b="0" i="0">
                <a:solidFill>
                  <a:srgbClr val="171717"/>
                </a:solidFill>
                <a:effectLst/>
                <a:latin typeface="Segoe UI" panose="020B0502040204020203" pitchFamily="34" charset="0"/>
              </a:rPr>
              <a:t>Some considerations for custom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project teams or business units to establish if they require dedicated Development, Test and Production environments or if a dedicated Development environment and shared Test and Production environments are more suitable to their use case.</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ich connectors are required and create an exception policy.</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o will be a maker in this environment, and who will be the Environment Administrator.</a:t>
            </a:r>
          </a:p>
          <a:p>
            <a:pPr algn="l">
              <a:buFont typeface="Arial" panose="020B0604020202020204" pitchFamily="34" charset="0"/>
              <a:buChar char="•"/>
            </a:pPr>
            <a:r>
              <a:rPr lang="en-GB" b="0" i="0">
                <a:solidFill>
                  <a:srgbClr val="171717"/>
                </a:solidFill>
                <a:effectLst/>
                <a:latin typeface="Segoe UI" panose="020B0502040204020203" pitchFamily="34" charset="0"/>
              </a:rPr>
              <a:t>Each environment consumes 1GB of data capacity, so manage custom environments wisely.</a:t>
            </a:r>
          </a:p>
          <a:p>
            <a:pPr algn="l"/>
            <a:r>
              <a:rPr lang="en-GB" b="0" i="0">
                <a:solidFill>
                  <a:srgbClr val="171717"/>
                </a:solidFill>
                <a:effectLst/>
                <a:latin typeface="Segoe UI" panose="020B0502040204020203" pitchFamily="34" charset="0"/>
              </a:rPr>
              <a:t>Additional to the above recommendations, establishing your </a:t>
            </a:r>
            <a:r>
              <a:rPr lang="en-GB" b="0" i="0" err="1">
                <a:solidFill>
                  <a:srgbClr val="171717"/>
                </a:solidFill>
                <a:effectLst/>
                <a:latin typeface="Segoe UI" panose="020B0502040204020203" pitchFamily="34" charset="0"/>
              </a:rPr>
              <a:t>enviornment</a:t>
            </a:r>
            <a:r>
              <a:rPr lang="en-GB" b="0" i="0">
                <a:solidFill>
                  <a:srgbClr val="171717"/>
                </a:solidFill>
                <a:effectLst/>
                <a:latin typeface="Segoe UI" panose="020B0502040204020203" pitchFamily="34" charset="0"/>
              </a:rPr>
              <a:t> strategy will also shape and direct your </a:t>
            </a:r>
            <a:r>
              <a:rPr lang="en-GB" b="1" i="0" u="none" strike="noStrike">
                <a:solidFill>
                  <a:srgbClr val="171717"/>
                </a:solidFill>
                <a:effectLst/>
                <a:latin typeface="Segoe UI" panose="020B0502040204020203" pitchFamily="34" charset="0"/>
                <a:hlinkClick r:id="rId3"/>
              </a:rPr>
              <a:t>DLP Strategy</a:t>
            </a:r>
            <a:r>
              <a:rPr lang="en-GB" b="0" i="0">
                <a:solidFill>
                  <a:srgbClr val="171717"/>
                </a:solidFill>
                <a:effectLst/>
                <a:latin typeface="Segoe UI" panose="020B0502040204020203" pitchFamily="34" charset="0"/>
              </a:rPr>
              <a:t>.</a:t>
            </a:r>
          </a:p>
        </p:txBody>
      </p:sp>
      <p:sp>
        <p:nvSpPr>
          <p:cNvPr id="4" name="Foliennummernplatzhalter 3"/>
          <p:cNvSpPr>
            <a:spLocks noGrp="1"/>
          </p:cNvSpPr>
          <p:nvPr>
            <p:ph type="sldNum" sz="quarter" idx="5"/>
          </p:nvPr>
        </p:nvSpPr>
        <p:spPr/>
        <p:txBody>
          <a:bodyPr/>
          <a:lstStyle/>
          <a:p>
            <a:fld id="{782CBF85-FDE2-4BA6-AF9F-D1F75459F4FF}" type="slidenum">
              <a:rPr lang="en-US" smtClean="0"/>
              <a:t>37</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333333"/>
                </a:solidFill>
                <a:effectLst/>
                <a:latin typeface="Segoe UI Condensed"/>
              </a:rPr>
              <a:t>There are some factors that influence when to provision which types of environments:</a:t>
            </a:r>
            <a:endParaRPr lang="en-GB" b="0" i="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782CBF85-FDE2-4BA6-AF9F-D1F75459F4FF}" type="slidenum">
              <a:rPr lang="en-US" smtClean="0"/>
              <a:t>38</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2020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Set up a </a:t>
            </a:r>
            <a:r>
              <a:rPr lang="en-GB" b="0" i="0" u="none" strike="noStrike">
                <a:solidFill>
                  <a:srgbClr val="171717"/>
                </a:solidFill>
                <a:effectLst/>
                <a:latin typeface="Segoe UI" panose="020B0502040204020203" pitchFamily="34" charset="0"/>
                <a:hlinkClick r:id="rId3"/>
              </a:rPr>
              <a:t>SharePoint site or a Wiki</a:t>
            </a:r>
            <a:r>
              <a:rPr lang="en-GB" b="0" i="0">
                <a:solidFill>
                  <a:srgbClr val="171717"/>
                </a:solidFill>
                <a:effectLst/>
                <a:latin typeface="Segoe UI" panose="020B0502040204020203" pitchFamily="34" charset="0"/>
              </a:rPr>
              <a:t> that clearly communicate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your Default environment</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shared team and employee productivity environments as well as other shared environments makers might have access to (for example, training environments) and the process of how to request access to those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Trial environments and how to request them.</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Developer environments and how to create them</a:t>
            </a:r>
          </a:p>
          <a:p>
            <a:pPr algn="l">
              <a:buFont typeface="Arial" panose="020B0604020202020204" pitchFamily="34" charset="0"/>
              <a:buChar char="•"/>
            </a:pPr>
            <a:r>
              <a:rPr lang="en-GB" b="0" i="0">
                <a:solidFill>
                  <a:srgbClr val="171717"/>
                </a:solidFill>
                <a:effectLst/>
                <a:latin typeface="Segoe UI" panose="020B0502040204020203" pitchFamily="34" charset="0"/>
              </a:rPr>
              <a:t>The process of requesting custom environments for specific business unit or project purposes.</a:t>
            </a:r>
          </a:p>
          <a:p>
            <a:pPr algn="l">
              <a:buFont typeface="Arial" panose="020B0604020202020204" pitchFamily="34" charset="0"/>
              <a:buChar char="•"/>
            </a:pPr>
            <a:r>
              <a:rPr lang="en-GB" b="0" i="0">
                <a:solidFill>
                  <a:srgbClr val="171717"/>
                </a:solidFill>
                <a:effectLst/>
                <a:latin typeface="Segoe UI" panose="020B0502040204020203" pitchFamily="34" charset="0"/>
              </a:rPr>
              <a:t>The responsibilities of a maker</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Keep the tenant clean. Delete your environments, apps, and flows if they are no longer needed. Use test environments if experimenting.</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Share wisely. Watch out for oversharing of your environments, apps, flows, and shared connections.</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Protect organization data. Avoid moving data from highly confidential or confidential data sources to non-protected or external storage</a:t>
            </a:r>
          </a:p>
        </p:txBody>
      </p:sp>
      <p:sp>
        <p:nvSpPr>
          <p:cNvPr id="4" name="Foliennummernplatzhalter 3"/>
          <p:cNvSpPr>
            <a:spLocks noGrp="1"/>
          </p:cNvSpPr>
          <p:nvPr>
            <p:ph type="sldNum" sz="quarter" idx="5"/>
          </p:nvPr>
        </p:nvSpPr>
        <p:spPr/>
        <p:txBody>
          <a:bodyPr/>
          <a:lstStyle/>
          <a:p>
            <a:fld id="{782CBF85-FDE2-4BA6-AF9F-D1F75459F4FF}" type="slidenum">
              <a:rPr lang="en-US" smtClean="0"/>
              <a:t>39</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CDS security roles.  The CDS security roles of course control the security for the CDS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41</a:t>
            </a:fld>
            <a:endParaRPr lang="en-US"/>
          </a:p>
        </p:txBody>
      </p:sp>
    </p:spTree>
    <p:extLst>
      <p:ext uri="{BB962C8B-B14F-4D97-AF65-F5344CB8AC3E}">
        <p14:creationId xmlns:p14="http://schemas.microsoft.com/office/powerpoint/2010/main" val="8824656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There should also be a good strategy in place for securing the </a:t>
            </a:r>
            <a:r>
              <a:rPr lang="en-US" dirty="0" err="1"/>
              <a:t>Dataverse</a:t>
            </a:r>
            <a:r>
              <a:rPr lang="en-US" dirty="0"/>
              <a:t>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00046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0004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26598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Notes (09/24)</a:t>
            </a:r>
          </a:p>
          <a:p>
            <a:pPr marL="171450" marR="0" indent="-17145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lur out the faces or hide them</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DA74EB7-5780-45A8-811F-2E5AF9BE97D4}"/>
              </a:ext>
            </a:extLst>
          </p:cNvPr>
          <p:cNvSpPr>
            <a:spLocks noGrp="1"/>
          </p:cNvSpPr>
          <p:nvPr>
            <p:ph type="body" idx="1"/>
          </p:nvPr>
        </p:nvSpPr>
        <p:spPr/>
        <p:txBody>
          <a:bodyPr/>
          <a:lstStyle/>
          <a:p>
            <a:pPr marL="0" indent="0">
              <a:buNone/>
            </a:pPr>
            <a:r>
              <a:rPr lang="en-GB" dirty="0"/>
              <a:t>DevOps also commonly </a:t>
            </a:r>
            <a:r>
              <a:rPr lang="en-GB" sz="1200" b="0" dirty="0">
                <a:latin typeface="Segoe UI Light" panose="020B0502040204020203" pitchFamily="34" charset="0"/>
                <a:cs typeface="Segoe UI Light" panose="020B0502040204020203" pitchFamily="34" charset="0"/>
              </a:rPr>
              <a:t>o</a:t>
            </a:r>
            <a:r>
              <a:rPr lang="en-GB" sz="1200" b="0" dirty="0">
                <a:latin typeface="Segoe UI Light" panose="020B0502040204020203" pitchFamily="34" charset="0"/>
                <a:ea typeface="Segoe UI" pitchFamily="34" charset="0"/>
                <a:cs typeface="Segoe UI Light" panose="020B0502040204020203" pitchFamily="34" charset="0"/>
              </a:rPr>
              <a:t>ffer surrounding platform services for agile software development across organization</a:t>
            </a:r>
            <a:endParaRPr lang="en-GB"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15196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Recipes that define the types of apps and flows that can be created </a:t>
            </a:r>
          </a:p>
          <a:p>
            <a:r>
              <a:rPr lang="en-GB" dirty="0"/>
              <a:t>400+ connectors </a:t>
            </a:r>
          </a:p>
          <a:p>
            <a:r>
              <a:rPr lang="en-GB" dirty="0"/>
              <a:t>DLP classify into business and non-business data (give an example) </a:t>
            </a:r>
          </a:p>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53</a:t>
            </a:fld>
            <a:endParaRPr lang="en-US" dirty="0"/>
          </a:p>
        </p:txBody>
      </p:sp>
    </p:spTree>
    <p:extLst>
      <p:ext uri="{BB962C8B-B14F-4D97-AF65-F5344CB8AC3E}">
        <p14:creationId xmlns:p14="http://schemas.microsoft.com/office/powerpoint/2010/main" val="6686809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Let us now look at the types of DLP policies. Power Platform supports– tenant level and environment level policies. The key difference between these two is that tenant level policies can be associated with more than one environment in the tenant, while the environment level policies only apply to a single environment at a time. Tenant level policies can only be created by tenant admin roles such as Power Platform administrator,. As mentioned earlier, tenant level policies are multi-environment and can be applied to one, more than one or all environments. These policies can be viewed and updated by any tenant admin even if they were not the original creator of the policy. Environment admins can also view tenant level policy settings since these do impact data flow for their environments. They are however not allowed to edit these policies. A key limitation for tenant level policies is – that they do not support custom connectors’ set up. This is because custom connectors are tied to a particular environment and are not available for multiple environments at a time. </a:t>
            </a:r>
          </a:p>
          <a:p>
            <a:endParaRPr lang="en-US" dirty="0"/>
          </a:p>
          <a:p>
            <a:r>
              <a:rPr lang="en-US" dirty="0"/>
              <a:t>Let us now look at environment level policies. These can be created by designated environment admins and have a 1:1 mapping to a single environment. All environment admins for the applicable environment as well as tenant admins can view and update environment level policies. Environment level policies do support custom connectors’ classification, through DLP powershell cmdlets. DLP UI support for custom connector classification is currently not availab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6/1/2022 6:0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1032733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So just to recap – power platform DLP supports three types of connector classification. Business and non-business groupings govern which connectors can be used together vs. not. Allowing you to segregate business </a:t>
            </a:r>
            <a:r>
              <a:rPr lang="en-US" err="1"/>
              <a:t>sensitivie</a:t>
            </a:r>
            <a:r>
              <a:rPr lang="en-US"/>
              <a:t> data from non-business data. Blocked on the other hand blocks the connector from use altogether. Power platform allows blocking of all Microsoft owned Premium connectors as well as all third party </a:t>
            </a:r>
            <a:r>
              <a:rPr lang="en-US" err="1"/>
              <a:t>stanrrd</a:t>
            </a:r>
            <a:r>
              <a:rPr lang="en-US"/>
              <a:t> and premium connectors. However Microsoft owned standard connectors such a O365 and native Power platform connectors as well as CDS are not blockable and can only be classified as business/non-business. </a:t>
            </a:r>
          </a:p>
          <a:p>
            <a:endParaRPr lang="en-US"/>
          </a:p>
          <a:p>
            <a:r>
              <a:rPr lang="en-US"/>
              <a:t>Do please note that the DLP connector classification is not set in stone at the time of creating the policy. Admins can change the classification of connectors at a future time by editing the DLP policy based on </a:t>
            </a:r>
            <a:r>
              <a:rPr lang="en-US" err="1"/>
              <a:t>thier</a:t>
            </a:r>
            <a:r>
              <a:rPr lang="en-US"/>
              <a:t> evolving business needs.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6/1/2022 6:0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4136378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Business and non-business classifications draw boundaries around what connectors can be used together vs. not in a given app or flow</a:t>
            </a:r>
          </a:p>
          <a:p>
            <a:endParaRPr lang="en-US" dirty="0"/>
          </a:p>
          <a:p>
            <a:r>
              <a:rPr lang="en-US" dirty="0"/>
              <a:t>In this example, if admins have put </a:t>
            </a:r>
            <a:r>
              <a:rPr lang="en-US" dirty="0" err="1"/>
              <a:t>Sharepoint</a:t>
            </a:r>
            <a:r>
              <a:rPr lang="en-US" dirty="0"/>
              <a:t> in the business category and </a:t>
            </a:r>
            <a:r>
              <a:rPr lang="en-US" dirty="0" err="1"/>
              <a:t>dropbox</a:t>
            </a:r>
            <a:r>
              <a:rPr lang="en-US" dirty="0"/>
              <a:t> in the non-business category, power platform makers can no longer make apps and flows that use these connectors together. </a:t>
            </a:r>
          </a:p>
          <a:p>
            <a:r>
              <a:rPr lang="en-US" dirty="0"/>
              <a:t>Makers can continue to use </a:t>
            </a:r>
            <a:r>
              <a:rPr lang="en-US" dirty="0" err="1"/>
              <a:t>Sharepoint</a:t>
            </a:r>
            <a:r>
              <a:rPr lang="en-US" dirty="0"/>
              <a:t> connector standalone or together with other business connectors such as O365 outlook leveraging power platform for business productivity scenario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imilarly makers can continue to use </a:t>
            </a:r>
            <a:r>
              <a:rPr lang="en-US" dirty="0" err="1"/>
              <a:t>dropbox</a:t>
            </a:r>
            <a:r>
              <a:rPr lang="en-US" dirty="0"/>
              <a:t> with other non-business connectors such as </a:t>
            </a:r>
            <a:r>
              <a:rPr lang="en-US" dirty="0" err="1"/>
              <a:t>gmail</a:t>
            </a:r>
            <a:r>
              <a:rPr lang="en-US" dirty="0"/>
              <a:t> leveraging power platform for personal productivity scenarios. By isolating </a:t>
            </a:r>
            <a:r>
              <a:rPr lang="en-US" dirty="0" err="1"/>
              <a:t>Sharepoint</a:t>
            </a:r>
            <a:r>
              <a:rPr lang="en-US" dirty="0"/>
              <a:t> from </a:t>
            </a:r>
            <a:r>
              <a:rPr lang="en-US" dirty="0" err="1"/>
              <a:t>dropbox</a:t>
            </a:r>
            <a:r>
              <a:rPr lang="en-US" dirty="0"/>
              <a:t>, admins have disabled maker’s ability to transfer data across these two services using power platform.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t is critical that you take your time and carefully identify all the relevant business data use connectors and isolate them from rest of your connectors. </a:t>
            </a:r>
          </a:p>
          <a:p>
            <a:endParaRPr lang="en-US" dirty="0"/>
          </a:p>
          <a:p>
            <a:r>
              <a:rPr lang="en-US" dirty="0"/>
              <a:t>Do note that the name business and non-business to these connector groupings does not have any special meaning. We can switch the tag on these groupings and the net effect will be the same in that </a:t>
            </a:r>
            <a:r>
              <a:rPr lang="en-US" dirty="0" err="1"/>
              <a:t>sharepoint</a:t>
            </a:r>
            <a:r>
              <a:rPr lang="en-US" dirty="0"/>
              <a:t> and </a:t>
            </a:r>
            <a:r>
              <a:rPr lang="en-US" dirty="0" err="1"/>
              <a:t>dropbox</a:t>
            </a:r>
            <a:r>
              <a:rPr lang="en-US" dirty="0"/>
              <a:t> cannot be used together while </a:t>
            </a:r>
            <a:r>
              <a:rPr lang="en-US" dirty="0" err="1"/>
              <a:t>sharepoint</a:t>
            </a:r>
            <a:r>
              <a:rPr lang="en-US" dirty="0"/>
              <a:t> and outlook can. It is grouping of connectors itself that is of </a:t>
            </a:r>
            <a:r>
              <a:rPr lang="en-US" dirty="0" err="1"/>
              <a:t>signifcance</a:t>
            </a:r>
            <a:r>
              <a:rPr lang="en-US" dirty="0"/>
              <a:t> and not the name of the group that they are placed in. </a:t>
            </a:r>
          </a:p>
          <a:p>
            <a:endParaRPr lang="en-US" dirty="0"/>
          </a:p>
          <a:p>
            <a:r>
              <a:rPr lang="en-US" dirty="0"/>
              <a:t>In this example you would also note that Twitter and HTTP as marked as blocked. Blocking connectors is an important new capability in Power </a:t>
            </a:r>
            <a:r>
              <a:rPr lang="en-US" dirty="0" err="1"/>
              <a:t>Platofrm</a:t>
            </a:r>
            <a:r>
              <a:rPr lang="en-US" dirty="0"/>
              <a:t>. This disallows their use altogether in apps and flows. In other words Twitter and HTTP can no longer be used with business and non-business connectors like </a:t>
            </a:r>
            <a:r>
              <a:rPr lang="en-US" dirty="0" err="1"/>
              <a:t>Sharepoint</a:t>
            </a:r>
            <a:r>
              <a:rPr lang="en-US" dirty="0"/>
              <a:t> or Dropbox in an app or flow. Additionally they are also not usable with each other or standalone. </a:t>
            </a:r>
          </a:p>
          <a:p>
            <a:endParaRPr lang="en-US" dirty="0"/>
          </a:p>
          <a:p>
            <a:r>
              <a:rPr lang="en-US" dirty="0"/>
              <a:t>Given this blocked attribution for connectors makes it practically connector unusable, it is important that as admins you don’t get trigger happy with connector blocking and use it sparingly. Invest time in evaluating risk vs. reward profile of connectors. </a:t>
            </a:r>
          </a:p>
          <a:p>
            <a:endParaRPr lang="en-US" dirty="0"/>
          </a:p>
          <a:p>
            <a:r>
              <a:rPr lang="en-US" dirty="0"/>
              <a:t>Since different environments can have different DLP policies, use this grain to effectivity govern which makers have access to which connectors to strike that all important balance between protection and productivit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2 6:0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89589272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200" dirty="0"/>
              <a:t>Power Automate suspension may take ~5 mins to come into effect after policy chang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6/1/2022 6:0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40231851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LP polices can be added, deleted, updated and viewed through three different admin interfaces, providing maximum flexibility to admi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 primary user-friendly interface to all thing's admin is the new power platform admin center and we have recently introduced the new DLP user interface in it. This new UI makes is very easy for admins to search and sort across 100s of connectors and 1000s of environments and easily define settings for them through multi-select and bulk-select options.</a:t>
            </a:r>
          </a:p>
          <a:p>
            <a:endParaRPr lang="en-US" dirty="0"/>
          </a:p>
          <a:p>
            <a:r>
              <a:rPr lang="en-US" dirty="0"/>
              <a:t>Power Platform Admin connector can also be used to perform CRUD operations on DLP policies for your custom governance workflows from within power platform. This is a great example of using power platform to manage power platform</a:t>
            </a:r>
          </a:p>
          <a:p>
            <a:endParaRPr lang="en-US" dirty="0"/>
          </a:p>
          <a:p>
            <a:r>
              <a:rPr lang="en-US" dirty="0"/>
              <a:t>And last but certainly not the least, Power apps admin PowerShell interface can be used for automating all your DLP management functions for power platform including management of custom connecto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6/1/2022 6:0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6373447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hlinkClick r:id="rId3"/>
              </a:rPr>
              <a:t>https://docs.microsoft.com/en-us/power-platform/guidance/adoption/dlp-strategy</a:t>
            </a:r>
            <a:endParaRPr lang="en-GB" dirty="0"/>
          </a:p>
          <a:p>
            <a:endParaRPr lang="en-GB" dirty="0"/>
          </a:p>
          <a:p>
            <a:pPr algn="l"/>
            <a:r>
              <a:rPr lang="en-GB" b="0" i="0" dirty="0">
                <a:solidFill>
                  <a:srgbClr val="171717"/>
                </a:solidFill>
                <a:effectLst/>
                <a:latin typeface="Segoe UI" panose="020B0502040204020203" pitchFamily="34" charset="0"/>
              </a:rPr>
              <a:t>Let’s look at how Contoso Corporation, our sample organization for this guidance, set up their DLP policies. The setup of their DLP policies ties in closely with their </a:t>
            </a:r>
            <a:r>
              <a:rPr lang="en-GB" b="0" i="0" u="none" strike="noStrike" dirty="0">
                <a:solidFill>
                  <a:srgbClr val="171717"/>
                </a:solidFill>
                <a:effectLst/>
                <a:latin typeface="Segoe UI" panose="020B0502040204020203" pitchFamily="34" charset="0"/>
                <a:hlinkClick r:id="rId4"/>
              </a:rPr>
              <a:t>environment strategy</a:t>
            </a:r>
            <a:r>
              <a:rPr lang="en-GB" b="0" i="0" dirty="0">
                <a:solidFill>
                  <a:srgbClr val="171717"/>
                </a:solidFill>
                <a:effectLst/>
                <a:latin typeface="Segoe UI" panose="020B0502040204020203" pitchFamily="34" charset="0"/>
              </a:rPr>
              <a:t>.</a:t>
            </a:r>
          </a:p>
          <a:p>
            <a:pPr algn="l"/>
            <a:r>
              <a:rPr lang="en-GB" b="0" i="0" dirty="0">
                <a:solidFill>
                  <a:srgbClr val="171717"/>
                </a:solidFill>
                <a:effectLst/>
                <a:latin typeface="Segoe UI" panose="020B0502040204020203" pitchFamily="34" charset="0"/>
              </a:rPr>
              <a:t>Contoso admins want to support user and team productivity scenarios and business applications, in addition to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activity management.</a:t>
            </a:r>
          </a:p>
          <a:p>
            <a:pPr algn="l"/>
            <a:r>
              <a:rPr lang="en-GB" b="0" i="0" dirty="0">
                <a:solidFill>
                  <a:srgbClr val="171717"/>
                </a:solidFill>
                <a:effectLst/>
                <a:latin typeface="Segoe UI" panose="020B0502040204020203" pitchFamily="34" charset="0"/>
              </a:rPr>
              <a:t>The environment and DLP strategy Contoso admins have applied here consists of:</a:t>
            </a:r>
          </a:p>
          <a:p>
            <a:pPr algn="l">
              <a:buFont typeface="+mj-lt"/>
              <a:buAutoNum type="arabicPeriod"/>
            </a:pPr>
            <a:r>
              <a:rPr lang="en-GB" b="0" i="0" dirty="0">
                <a:solidFill>
                  <a:srgbClr val="171717"/>
                </a:solidFill>
                <a:effectLst/>
                <a:latin typeface="Segoe UI" panose="020B0502040204020203" pitchFamily="34" charset="0"/>
              </a:rPr>
              <a:t>A tenant-wide restrictive DLP policy that applies to all environments in the tenant except some specific environments that they have excluded from the policy scope. Admins intend to keep the available connectors in this policy limited to Office 365 and other standard micro-services by blocking access to everything else. This policy will also apply to the default environment.</a:t>
            </a:r>
          </a:p>
          <a:p>
            <a:pPr algn="l">
              <a:buFont typeface="+mj-lt"/>
              <a:buAutoNum type="arabicPeriod"/>
            </a:pPr>
            <a:r>
              <a:rPr lang="en-GB" b="0" i="0" dirty="0">
                <a:solidFill>
                  <a:srgbClr val="171717"/>
                </a:solidFill>
                <a:effectLst/>
                <a:latin typeface="Segoe UI" panose="020B0502040204020203" pitchFamily="34" charset="0"/>
              </a:rPr>
              <a:t>Contoso admins have created another shared environment for users to create apps for user and team productivity use cases. This environment has an associated tenant-level DLP policy that isn't as risk-averse as a default policy and allows makers to use connectors like Azure services in addition to the Office 365 services. Because this is a non-default environment, admins can actively control the environment maker list for it. This is a tiered approach to shared user and team productivity environment and associated DLP settings.</a:t>
            </a:r>
          </a:p>
          <a:p>
            <a:pPr algn="l">
              <a:buFont typeface="+mj-lt"/>
              <a:buAutoNum type="arabicPeriod"/>
            </a:pPr>
            <a:r>
              <a:rPr lang="en-GB" b="0" i="0" dirty="0">
                <a:solidFill>
                  <a:srgbClr val="171717"/>
                </a:solidFill>
                <a:effectLst/>
                <a:latin typeface="Segoe UI" panose="020B0502040204020203" pitchFamily="34" charset="0"/>
              </a:rPr>
              <a:t>In addition, for the business units to create line-of-business applications, they have created development, test, and production environments for their tax and audit subsidiaries across various countries. The environment maker access to these environments is carefully managed, and appropriate first- and third-party connectors are made available using tenant-level DLP policies in consultation with the business unit stakeholders.</a:t>
            </a:r>
          </a:p>
          <a:p>
            <a:pPr algn="l">
              <a:buFont typeface="+mj-lt"/>
              <a:buAutoNum type="arabicPeriod"/>
            </a:pPr>
            <a:r>
              <a:rPr lang="en-GB" b="0" i="0" dirty="0">
                <a:solidFill>
                  <a:srgbClr val="171717"/>
                </a:solidFill>
                <a:effectLst/>
                <a:latin typeface="Segoe UI" panose="020B0502040204020203" pitchFamily="34" charset="0"/>
              </a:rPr>
              <a:t>Similarly, dev/test/production environments are created for Central IT's use to develop and roll out relevant or right applications. These business application scenarios typically have a well-defined set of connectors that need to be made available for makers, testers, and users in these environments. Access to these connectors is managed using a dedicated tenant-level policy.</a:t>
            </a:r>
          </a:p>
          <a:p>
            <a:pPr algn="l">
              <a:buFont typeface="+mj-lt"/>
              <a:buAutoNum type="arabicPeriod"/>
            </a:pPr>
            <a:r>
              <a:rPr lang="en-GB" b="0" i="0" dirty="0">
                <a:solidFill>
                  <a:srgbClr val="171717"/>
                </a:solidFill>
                <a:effectLst/>
                <a:latin typeface="Segoe UI" panose="020B0502040204020203" pitchFamily="34" charset="0"/>
              </a:rPr>
              <a:t>Contoso also has a special purpose environment dedicated to their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ctivities. In Contoso, the DLP policy for the special purpose environment will remain high touch given the experimental nature of the theory teams book. In this case, tenant admins have delegated DLP management for this environment directly to a trusted environment admin of th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team and excluded it from a school of all tenant-level policies. This environment is managed only by the environment-level DLP policy, which is an exception rather than the rule at Contoso.</a:t>
            </a:r>
          </a:p>
          <a:p>
            <a:pPr algn="l"/>
            <a:r>
              <a:rPr lang="en-GB" b="0" i="0" dirty="0">
                <a:solidFill>
                  <a:srgbClr val="171717"/>
                </a:solidFill>
                <a:effectLst/>
                <a:latin typeface="Segoe UI" panose="020B0502040204020203" pitchFamily="34" charset="0"/>
              </a:rPr>
              <a:t>As expected, any new environments that are created in Contoso will map to the original all-environments policy.</a:t>
            </a:r>
          </a:p>
          <a:p>
            <a:pPr algn="l"/>
            <a:r>
              <a:rPr lang="en-GB" b="0" i="0" dirty="0">
                <a:solidFill>
                  <a:srgbClr val="171717"/>
                </a:solidFill>
                <a:effectLst/>
                <a:latin typeface="Segoe UI" panose="020B0502040204020203" pitchFamily="34" charset="0"/>
              </a:rPr>
              <a:t>This setup of tenant-centric DLP policies doesn't prevent environment admins from coming up with their own environment-level DLP policies, if they want to introduce additional restrictions or to classify custom connectors.</a:t>
            </a:r>
          </a:p>
          <a:p>
            <a:endParaRPr lang="en-GB" dirty="0"/>
          </a:p>
        </p:txBody>
      </p:sp>
      <p:sp>
        <p:nvSpPr>
          <p:cNvPr id="4" name="Slide Number Placeholder 3"/>
          <p:cNvSpPr>
            <a:spLocks noGrp="1"/>
          </p:cNvSpPr>
          <p:nvPr>
            <p:ph type="sldNum" sz="quarter" idx="5"/>
          </p:nvPr>
        </p:nvSpPr>
        <p:spPr/>
        <p:txBody>
          <a:bodyPr/>
          <a:lstStyle/>
          <a:p>
            <a:fld id="{8CEEC488-DFA6-44D4-AFB0-C242488D84E3}" type="slidenum">
              <a:rPr lang="en-US" smtClean="0"/>
              <a:t>60</a:t>
            </a:fld>
            <a:endParaRPr lang="en-US" dirty="0"/>
          </a:p>
        </p:txBody>
      </p:sp>
    </p:spTree>
    <p:extLst>
      <p:ext uri="{BB962C8B-B14F-4D97-AF65-F5344CB8AC3E}">
        <p14:creationId xmlns:p14="http://schemas.microsoft.com/office/powerpoint/2010/main" val="240760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61</a:t>
            </a:fld>
            <a:endParaRPr lang="en-US" dirty="0"/>
          </a:p>
        </p:txBody>
      </p:sp>
    </p:spTree>
    <p:extLst>
      <p:ext uri="{BB962C8B-B14F-4D97-AF65-F5344CB8AC3E}">
        <p14:creationId xmlns:p14="http://schemas.microsoft.com/office/powerpoint/2010/main" val="8351707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56236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ecord-level:</a:t>
            </a:r>
          </a:p>
          <a:p>
            <a:pPr marL="171450" indent="-171450">
              <a:buFont typeface="Arial" panose="020B0604020202020204" pitchFamily="34" charset="0"/>
              <a:buChar char="•"/>
            </a:pPr>
            <a:r>
              <a:rPr lang="en-US"/>
              <a:t>For each entity, definitions of access level for CRUD operations are defined</a:t>
            </a:r>
          </a:p>
          <a:p>
            <a:endParaRPr lang="en-US"/>
          </a:p>
          <a:p>
            <a:r>
              <a:rPr lang="en-US"/>
              <a:t>Action/Task-based</a:t>
            </a:r>
          </a:p>
          <a:p>
            <a:pPr marL="171450" indent="-171450">
              <a:buFont typeface="Arial" panose="020B0604020202020204" pitchFamily="34" charset="0"/>
              <a:buChar char="•"/>
            </a:pPr>
            <a:r>
              <a:rPr lang="en-US"/>
              <a:t>For non-entity related permissions</a:t>
            </a:r>
          </a:p>
          <a:p>
            <a:endParaRPr lang="en-US"/>
          </a:p>
          <a:p>
            <a:r>
              <a:rPr lang="en-US"/>
              <a:t>Cumulative privileges:</a:t>
            </a:r>
          </a:p>
          <a:p>
            <a:pPr marL="171450" indent="-171450">
              <a:buFont typeface="Arial" panose="020B0604020202020204" pitchFamily="34" charset="0"/>
              <a:buChar char="•"/>
            </a:pPr>
            <a:r>
              <a:rPr lang="en-US"/>
              <a:t>When users are assigned multiple security roles, users get the cumulative privileges of all the ro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2 6:0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12987431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ow level</a:t>
            </a:r>
          </a:p>
          <a:p>
            <a:pPr marL="171450" indent="-171450">
              <a:buFont typeface="Arial" panose="020B0604020202020204" pitchFamily="34" charset="0"/>
              <a:buChar char="•"/>
            </a:pPr>
            <a:r>
              <a:rPr lang="en-US"/>
              <a:t>For each entity, definitions for CRUD operation privileges can be set</a:t>
            </a:r>
          </a:p>
          <a:p>
            <a:endParaRPr lang="en-US"/>
          </a:p>
          <a:p>
            <a:r>
              <a:rPr lang="en-US"/>
              <a:t>Access level</a:t>
            </a:r>
          </a:p>
          <a:p>
            <a:pPr marL="171450" indent="-171450">
              <a:buFont typeface="Arial" panose="020B0604020202020204" pitchFamily="34" charset="0"/>
              <a:buChar char="•"/>
            </a:pPr>
            <a:r>
              <a:rPr lang="en-US"/>
              <a:t>For each permission, definitions of access levels can be se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2 6:0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15524650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67386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a:solidFill>
                  <a:schemeClr val="bg1"/>
                </a:solidFill>
              </a:rPr>
              <a:t>This is a good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1516822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9601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067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13</a:t>
            </a:fld>
            <a:endParaRPr lang="en-US" dirty="0"/>
          </a:p>
        </p:txBody>
      </p:sp>
    </p:spTree>
    <p:extLst>
      <p:ext uri="{BB962C8B-B14F-4D97-AF65-F5344CB8AC3E}">
        <p14:creationId xmlns:p14="http://schemas.microsoft.com/office/powerpoint/2010/main" val="506783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t>Self service ticketing! Admins can switch this off</a:t>
            </a:r>
          </a:p>
        </p:txBody>
      </p:sp>
      <p:sp>
        <p:nvSpPr>
          <p:cNvPr id="4" name="Slide Number Placeholder 3"/>
          <p:cNvSpPr>
            <a:spLocks noGrp="1"/>
          </p:cNvSpPr>
          <p:nvPr>
            <p:ph type="sldNum" sz="quarter" idx="5"/>
          </p:nvPr>
        </p:nvSpPr>
        <p:spPr/>
        <p:txBody>
          <a:bodyPr/>
          <a:lstStyle/>
          <a:p>
            <a:fld id="{8CEEC488-DFA6-44D4-AFB0-C242488D84E3}" type="slidenum">
              <a:rPr lang="en-US" smtClean="0"/>
              <a:t>14</a:t>
            </a:fld>
            <a:endParaRPr lang="en-US" dirty="0"/>
          </a:p>
        </p:txBody>
      </p:sp>
    </p:spTree>
    <p:extLst>
      <p:ext uri="{BB962C8B-B14F-4D97-AF65-F5344CB8AC3E}">
        <p14:creationId xmlns:p14="http://schemas.microsoft.com/office/powerpoint/2010/main" val="31015289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28.jpeg"/><Relationship Id="rId5" Type="http://schemas.microsoft.com/office/2007/relationships/hdphoto" Target="../media/hdphoto1.wdp"/><Relationship Id="rId4" Type="http://schemas.openxmlformats.org/officeDocument/2006/relationships/image" Target="../media/image2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33.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596423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7" y="248653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341996" y="1767422"/>
            <a:ext cx="3568658"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45304162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8" y="1442103"/>
            <a:ext cx="3568658" cy="407323"/>
          </a:xfrm>
        </p:spPr>
        <p:txBody>
          <a:bodyPr wrap="square" lIns="0" tIns="0" rIns="0" bIns="0">
            <a:spAutoFit/>
          </a:bodyPr>
          <a:lstStyle>
            <a:lvl1pPr marL="0" indent="0">
              <a:lnSpc>
                <a:spcPct val="90000"/>
              </a:lnSpc>
              <a:spcAft>
                <a:spcPts val="900"/>
              </a:spcAft>
              <a:buNone/>
              <a:defRPr sz="1471" b="0" i="0">
                <a:solidFill>
                  <a:schemeClr val="tx1"/>
                </a:solidFill>
                <a:latin typeface="+mn-lt"/>
              </a:defRPr>
            </a:lvl1pPr>
            <a:lvl2pPr marL="168041" indent="0">
              <a:buNone/>
              <a:defRPr/>
            </a:lvl2pPr>
            <a:lvl3pPr marL="336080" indent="0">
              <a:buNone/>
              <a:defRPr/>
            </a:lvl3pPr>
            <a:lvl4pPr marL="504121" indent="0">
              <a:buNone/>
              <a:defRPr/>
            </a:lvl4pPr>
            <a:lvl5pPr marL="672161"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143707"/>
      </p:ext>
    </p:extLst>
  </p:cSld>
  <p:clrMapOvr>
    <a:masterClrMapping/>
  </p:clrMapOvr>
  <p:transition>
    <p:fade/>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14786"/>
            <a:ext cx="8740142" cy="695955"/>
          </a:xfrm>
          <a:prstGeom prst="rect">
            <a:avLst/>
          </a:prstGeom>
        </p:spPr>
        <p:txBody>
          <a:bodyPr lIns="146304" tIns="91440" rIns="146304" bIns="91440"/>
          <a:lstStyle>
            <a:lvl1pPr algn="l">
              <a:defRPr sz="24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8525375" y="4921324"/>
            <a:ext cx="416697" cy="100862"/>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336159" y="4921324"/>
            <a:ext cx="2894705" cy="100862"/>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39638211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1931" y="217135"/>
            <a:ext cx="8621792" cy="614027"/>
          </a:xfrm>
        </p:spPr>
        <p:txBody>
          <a:bodyPr/>
          <a:lstStyle>
            <a:lvl1pPr>
              <a:defRPr lang="en-US" sz="2400" b="0" kern="1200" cap="none" spc="-75"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01931" y="814998"/>
            <a:ext cx="8621792" cy="323176"/>
          </a:xfrm>
        </p:spPr>
        <p:txBody>
          <a:bodyPr tIns="0" bIns="0" anchor="ctr">
            <a:spAutoFit/>
          </a:bodyPr>
          <a:lstStyle>
            <a:lvl1pPr marL="0" indent="0">
              <a:buNone/>
              <a:defRPr sz="2100"/>
            </a:lvl1pPr>
            <a:lvl2pPr>
              <a:defRPr sz="1324"/>
            </a:lvl2pPr>
            <a:lvl3pPr>
              <a:defRPr sz="1175"/>
            </a:lvl3pPr>
            <a:lvl4pPr>
              <a:defRPr sz="1028"/>
            </a:lvl4pPr>
            <a:lvl5pPr>
              <a:defRPr sz="1028"/>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40990057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075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365"/>
            <a:ext cx="9144000" cy="5142770"/>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730"/>
            <a:ext cx="9144000" cy="5142770"/>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8367" y="110525"/>
            <a:ext cx="1453534" cy="28516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305544" y="1066801"/>
            <a:ext cx="3559875" cy="2550524"/>
          </a:xfrm>
          <a:noFill/>
        </p:spPr>
        <p:txBody>
          <a:bodyPr lIns="0" tIns="0" rIns="0" bIns="182880" anchor="b" anchorCtr="0"/>
          <a:lstStyle>
            <a:lvl1pPr>
              <a:defRPr sz="3000" strike="noStrike" spc="-37"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348632" y="3635746"/>
            <a:ext cx="3559875" cy="592213"/>
          </a:xfrm>
        </p:spPr>
        <p:txBody>
          <a:bodyPr/>
          <a:lstStyle>
            <a:lvl1pPr>
              <a:defRPr sz="1324">
                <a:solidFill>
                  <a:schemeClr val="bg1"/>
                </a:solidFill>
              </a:defRPr>
            </a:lvl1pPr>
            <a:lvl2pPr>
              <a:defRPr sz="1324">
                <a:solidFill>
                  <a:schemeClr val="bg1"/>
                </a:solidFill>
              </a:defRPr>
            </a:lvl2pPr>
            <a:lvl3pPr>
              <a:defRPr sz="1028"/>
            </a:lvl3pPr>
            <a:lvl4pPr>
              <a:defRPr sz="1028"/>
            </a:lvl4pPr>
            <a:lvl5pPr>
              <a:defRPr sz="771"/>
            </a:lvl5pPr>
          </a:lstStyle>
          <a:p>
            <a:pPr lvl="0"/>
            <a:r>
              <a:rPr lang="en-US"/>
              <a:t>Speaker name</a:t>
            </a:r>
          </a:p>
          <a:p>
            <a:pPr lvl="1"/>
            <a:r>
              <a:rPr lang="en-US"/>
              <a:t>Date</a:t>
            </a:r>
          </a:p>
        </p:txBody>
      </p:sp>
    </p:spTree>
    <p:extLst>
      <p:ext uri="{BB962C8B-B14F-4D97-AF65-F5344CB8AC3E}">
        <p14:creationId xmlns:p14="http://schemas.microsoft.com/office/powerpoint/2010/main" val="3867240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4"/>
            <a:ext cx="8263890" cy="1225913"/>
          </a:xfrm>
        </p:spPr>
        <p:txBody>
          <a:bodyPr/>
          <a:lstStyle>
            <a:lvl1pPr marL="171446" indent="-171446">
              <a:buFont typeface="Wingdings" panose="05000000000000000000" pitchFamily="2" charset="2"/>
              <a:buChar char="§"/>
              <a:defRPr/>
            </a:lvl1pPr>
            <a:lvl2pPr marL="342892" indent="-171446">
              <a:buFont typeface="Wingdings" panose="05000000000000000000" pitchFamily="2" charset="2"/>
              <a:buChar char="§"/>
              <a:defRPr/>
            </a:lvl2pPr>
            <a:lvl3pPr marL="492907" indent="-150015">
              <a:buFont typeface="Wingdings" panose="05000000000000000000" pitchFamily="2" charset="2"/>
              <a:buChar char="§"/>
              <a:defRPr/>
            </a:lvl3pPr>
            <a:lvl4pPr marL="632207" indent="-135728">
              <a:buFont typeface="Wingdings" panose="05000000000000000000" pitchFamily="2" charset="2"/>
              <a:buChar char="§"/>
              <a:defRPr/>
            </a:lvl4pPr>
            <a:lvl5pPr marL="767935" indent="-126203">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7084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3949818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9406426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38913" y="1732359"/>
            <a:ext cx="2386520" cy="2969419"/>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265893" y="1732359"/>
            <a:ext cx="5441149" cy="456279"/>
          </a:xfrm>
        </p:spPr>
        <p:txBody>
          <a:bodyPr anchor="t"/>
          <a:lstStyle>
            <a:lvl1pPr marL="0" indent="0">
              <a:spcAft>
                <a:spcPts val="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38912" y="1514475"/>
            <a:ext cx="238658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265893" y="1514475"/>
            <a:ext cx="5441149"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4700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9144000" cy="5143500"/>
          </a:xfrm>
          <a:blipFill>
            <a:blip r:embed="rId2"/>
            <a:stretch>
              <a:fillRect/>
            </a:stretch>
          </a:blipFill>
        </p:spPr>
        <p:txBody>
          <a:bodyPr wrap="none" bIns="2011680" anchor="ctr">
            <a:noAutofit/>
          </a:bodyPr>
          <a:lstStyle>
            <a:lvl1pPr marL="0" indent="0" algn="ctr">
              <a:buNone/>
              <a:defRPr sz="10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4251960" cy="51435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7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367573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01706624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6F82F-B10A-4D7D-9E9C-4699BC83F8DE}"/>
              </a:ext>
            </a:extLst>
          </p:cNvPr>
          <p:cNvSpPr>
            <a:spLocks noGrp="1"/>
          </p:cNvSpPr>
          <p:nvPr>
            <p:ph type="dt" sz="half" idx="10"/>
          </p:nvPr>
        </p:nvSpPr>
        <p:spPr/>
        <p:txBody>
          <a:bodyPr/>
          <a:lstStyle/>
          <a:p>
            <a:fld id="{6470B058-9A20-4323-BCAA-418A0BC6AFA1}" type="datetimeFigureOut">
              <a:rPr lang="en-US" smtClean="0"/>
              <a:t>6/1/2022</a:t>
            </a:fld>
            <a:endParaRPr lang="en-US"/>
          </a:p>
        </p:txBody>
      </p:sp>
      <p:sp>
        <p:nvSpPr>
          <p:cNvPr id="3" name="Footer Placeholder 2">
            <a:extLst>
              <a:ext uri="{FF2B5EF4-FFF2-40B4-BE49-F238E27FC236}">
                <a16:creationId xmlns:a16="http://schemas.microsoft.com/office/drawing/2014/main" id="{495BF161-88DD-48FA-882F-19A109FC53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51CF34-818B-4EC4-9FAC-D7D52BF8C28F}"/>
              </a:ext>
            </a:extLst>
          </p:cNvPr>
          <p:cNvSpPr>
            <a:spLocks noGrp="1"/>
          </p:cNvSpPr>
          <p:nvPr>
            <p:ph type="sldNum" sz="quarter" idx="12"/>
          </p:nvPr>
        </p:nvSpPr>
        <p:spPr/>
        <p:txBody>
          <a:bodyPr/>
          <a:lstStyle/>
          <a:p>
            <a:fld id="{BCAD8303-B31A-4891-BFE2-CE44098F5B93}" type="slidenum">
              <a:rPr lang="en-US" smtClean="0"/>
              <a:t>‹#›</a:t>
            </a:fld>
            <a:endParaRPr lang="en-US"/>
          </a:p>
        </p:txBody>
      </p:sp>
    </p:spTree>
    <p:extLst>
      <p:ext uri="{BB962C8B-B14F-4D97-AF65-F5344CB8AC3E}">
        <p14:creationId xmlns:p14="http://schemas.microsoft.com/office/powerpoint/2010/main" val="42636373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572000" y="0"/>
            <a:ext cx="4572000" cy="51435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47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426035" y="1302763"/>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426035" y="2190942"/>
            <a:ext cx="406359" cy="339758"/>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426035" y="3072274"/>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426036" y="540047"/>
            <a:ext cx="3361593" cy="450593"/>
          </a:xfrm>
          <a:prstGeom prst="rect">
            <a:avLst/>
          </a:prstGeom>
        </p:spPr>
        <p:txBody>
          <a:bodyPr vert="horz" wrap="square" lIns="0" tIns="164592" rIns="0" bIns="0" rtlCol="0" anchor="b">
            <a:noAutofit/>
          </a:bodyPr>
          <a:lstStyle>
            <a:lvl1pPr>
              <a:lnSpc>
                <a:spcPct val="100000"/>
              </a:lnSpc>
              <a:defRPr sz="2059"/>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120532" y="1275050"/>
            <a:ext cx="2667097" cy="578190"/>
          </a:xfrm>
        </p:spPr>
        <p:txBody>
          <a:bodyPr wrap="square" lIns="0" tIns="0" rIns="0" bIns="0">
            <a:noAutofit/>
          </a:bodyPr>
          <a:lstStyle>
            <a:lvl1pPr marL="0" marR="0" indent="0" algn="l" defTabSz="685775" rtl="0" eaLnBrk="1" fontAlgn="auto" latinLnBrk="0" hangingPunct="1">
              <a:lnSpc>
                <a:spcPct val="100000"/>
              </a:lnSpc>
              <a:spcBef>
                <a:spcPts val="0"/>
              </a:spcBef>
              <a:spcAft>
                <a:spcPts val="1912"/>
              </a:spcAft>
              <a:buClrTx/>
              <a:buSzPct val="90000"/>
              <a:buFont typeface="Wingdings" panose="05000000000000000000" pitchFamily="2" charset="2"/>
              <a:buNone/>
              <a:tabLst/>
              <a:defRPr sz="1324" b="0" i="0">
                <a:solidFill>
                  <a:srgbClr val="000000"/>
                </a:solidFill>
                <a:latin typeface="Segoe UI Light" panose="020B0502040204020203" pitchFamily="34" charset="0"/>
                <a:cs typeface="Segoe UI Light" panose="020B0502040204020203" pitchFamily="34" charset="0"/>
              </a:defRPr>
            </a:lvl1pPr>
            <a:lvl2pPr marL="168073" marR="0" indent="0" algn="l" defTabSz="6857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336145" indent="0">
              <a:buNone/>
              <a:defRPr/>
            </a:lvl3pPr>
            <a:lvl4pPr marL="504218" indent="0">
              <a:buNone/>
              <a:defRPr/>
            </a:lvl4pPr>
            <a:lvl5pPr marL="672290"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827496590"/>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5296358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439341"/>
            <a:ext cx="3119963" cy="426243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27435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1416724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1917977573"/>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9102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13330411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38910"/>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4701780"/>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15282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4"/>
            <a:ext cx="8740142" cy="1425583"/>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52978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79034835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5"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5" y="3020026"/>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marL="0" marR="0" lvl="0" indent="0" algn="l" defTabSz="68584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414816"/>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918956"/>
            <a:ext cx="8285165" cy="226327"/>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90" indent="0">
              <a:lnSpc>
                <a:spcPct val="90000"/>
              </a:lnSpc>
              <a:spcBef>
                <a:spcPts val="0"/>
              </a:spcBef>
              <a:spcAft>
                <a:spcPts val="956"/>
              </a:spcAft>
              <a:buNone/>
              <a:defRPr sz="1471">
                <a:solidFill>
                  <a:schemeClr val="tx2"/>
                </a:solidFill>
              </a:defRPr>
            </a:lvl2pPr>
            <a:lvl3pPr marL="336179" indent="0">
              <a:spcBef>
                <a:spcPts val="0"/>
              </a:spcBef>
              <a:spcAft>
                <a:spcPts val="956"/>
              </a:spcAft>
              <a:buNone/>
              <a:defRPr sz="1471"/>
            </a:lvl3pPr>
            <a:lvl4pPr marL="504269" indent="0">
              <a:spcBef>
                <a:spcPts val="0"/>
              </a:spcBef>
              <a:spcAft>
                <a:spcPts val="956"/>
              </a:spcAft>
              <a:buNone/>
              <a:defRPr sz="1471"/>
            </a:lvl4pPr>
            <a:lvl5pPr marL="672358" indent="0">
              <a:buNone/>
              <a:defRPr/>
            </a:lvl5pPr>
          </a:lstStyle>
          <a:p>
            <a:pPr lvl="0"/>
            <a:r>
              <a:rPr lang="en-US"/>
              <a:t>Subtitle Segoe UI 20pt</a:t>
            </a:r>
          </a:p>
        </p:txBody>
      </p:sp>
    </p:spTree>
    <p:extLst>
      <p:ext uri="{BB962C8B-B14F-4D97-AF65-F5344CB8AC3E}">
        <p14:creationId xmlns:p14="http://schemas.microsoft.com/office/powerpoint/2010/main" val="220721028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036" y="1899336"/>
            <a:ext cx="4072247" cy="1344828"/>
          </a:xfrm>
          <a:noFill/>
        </p:spPr>
        <p:txBody>
          <a:bodyPr lIns="0" tIns="0" rIns="0" bIns="182880" anchor="b" anchorCtr="0"/>
          <a:lstStyle>
            <a:lvl1pPr>
              <a:lnSpc>
                <a:spcPct val="100000"/>
              </a:lnSpc>
              <a:defRPr sz="3971" strike="noStrike" spc="-110"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6036" y="442440"/>
            <a:ext cx="990847" cy="210254"/>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438720" y="3384250"/>
            <a:ext cx="4059563" cy="316882"/>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059"/>
              <a:t>Author name</a:t>
            </a:r>
          </a:p>
        </p:txBody>
      </p:sp>
    </p:spTree>
    <p:extLst>
      <p:ext uri="{BB962C8B-B14F-4D97-AF65-F5344CB8AC3E}">
        <p14:creationId xmlns:p14="http://schemas.microsoft.com/office/powerpoint/2010/main" val="426187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436224" y="1899336"/>
            <a:ext cx="4072247" cy="1344828"/>
          </a:xfrm>
          <a:noFill/>
        </p:spPr>
        <p:txBody>
          <a:bodyPr lIns="0" tIns="0" rIns="0" bIns="182880" anchor="b" anchorCtr="0"/>
          <a:lstStyle>
            <a:lvl1pPr>
              <a:lnSpc>
                <a:spcPct val="100000"/>
              </a:lnSpc>
              <a:defRPr sz="3971" strike="noStrike" spc="-110"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448908" y="3384250"/>
            <a:ext cx="4059563" cy="316882"/>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059"/>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756"/>
            <a:ext cx="9144000" cy="5141988"/>
          </a:xfrm>
          <a:prstGeom prst="rect">
            <a:avLst/>
          </a:prstGeom>
        </p:spPr>
      </p:pic>
    </p:spTree>
    <p:extLst>
      <p:ext uri="{BB962C8B-B14F-4D97-AF65-F5344CB8AC3E}">
        <p14:creationId xmlns:p14="http://schemas.microsoft.com/office/powerpoint/2010/main" val="2997736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79708657"/>
              </p:ext>
            </p:extLst>
          </p:nvPr>
        </p:nvGraphicFramePr>
        <p:xfrm>
          <a:off x="1167" y="1168"/>
          <a:ext cx="1168" cy="116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167" y="1168"/>
                        <a:ext cx="1168" cy="116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0"/>
            <a:ext cx="116722" cy="116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685647" fontAlgn="base">
              <a:lnSpc>
                <a:spcPct val="90000"/>
              </a:lnSpc>
              <a:spcBef>
                <a:spcPct val="0"/>
              </a:spcBef>
              <a:spcAft>
                <a:spcPct val="0"/>
              </a:spcAft>
            </a:pPr>
            <a:endParaRPr lang="en-US" sz="2353"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426036" y="1372284"/>
            <a:ext cx="3361593" cy="1105047"/>
          </a:xfrm>
          <a:noFill/>
        </p:spPr>
        <p:txBody>
          <a:bodyPr lIns="0" tIns="0" rIns="0" bIns="0" anchor="ctr" anchorCtr="0"/>
          <a:lstStyle>
            <a:lvl1pPr>
              <a:lnSpc>
                <a:spcPct val="100000"/>
              </a:lnSpc>
              <a:spcAft>
                <a:spcPts val="956"/>
              </a:spcAft>
              <a:defRPr sz="2353" spc="-110"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26036" y="442440"/>
            <a:ext cx="986067" cy="210254"/>
          </a:xfrm>
          <a:prstGeom prst="rect">
            <a:avLst/>
          </a:prstGeom>
        </p:spPr>
      </p:pic>
    </p:spTree>
    <p:extLst>
      <p:ext uri="{BB962C8B-B14F-4D97-AF65-F5344CB8AC3E}">
        <p14:creationId xmlns:p14="http://schemas.microsoft.com/office/powerpoint/2010/main" val="293455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2467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036" y="442440"/>
            <a:ext cx="8291930" cy="366649"/>
          </a:xfrm>
        </p:spPr>
        <p:txBody>
          <a:bodyPr wrap="square" lIns="0" tIns="0" rIns="0" bIns="0">
            <a:spAutoFit/>
          </a:bodyPr>
          <a:lstStyle>
            <a:lvl1pPr>
              <a:lnSpc>
                <a:spcPct val="90000"/>
              </a:lnSpc>
              <a:defRPr sz="2647" strike="noStrike">
                <a:solidFill>
                  <a:schemeClr val="tx1"/>
                </a:solidFill>
              </a:defRPr>
            </a:lvl1pPr>
          </a:lstStyle>
          <a:p>
            <a:r>
              <a:rPr lang="en-US" dirty="0"/>
              <a:t>Title</a:t>
            </a:r>
          </a:p>
        </p:txBody>
      </p:sp>
    </p:spTree>
    <p:extLst>
      <p:ext uri="{BB962C8B-B14F-4D97-AF65-F5344CB8AC3E}">
        <p14:creationId xmlns:p14="http://schemas.microsoft.com/office/powerpoint/2010/main" val="44679794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441197" y="682110"/>
            <a:ext cx="8263890" cy="41554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62122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3695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734679"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57098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4846510"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4689182"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697580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6807375"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88408518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14"/>
            <a:ext cx="3119963" cy="83109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69466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86321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55587357"/>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373973049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780208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17172"/>
      </p:ext>
    </p:extLst>
  </p:cSld>
  <p:clrMapOvr>
    <a:masterClrMapping/>
  </p:clrMapOvr>
  <p:transition spd="slow">
    <p:push/>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118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04917629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297413411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53793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00049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5396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727122"/>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774842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3764362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121597256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445193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418219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10432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54575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94159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54619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7183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21308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65013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65951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22855719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846215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88180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571811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420116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771790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5019442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582134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120617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079180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510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26674130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53212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0572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324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1260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3013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857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solidFill>
                  <a:schemeClr val="tx2">
                    <a:lumMod val="75000"/>
                  </a:schemeClr>
                </a:solidFill>
                <a:latin typeface="+mj-lt"/>
              </a:rPr>
              <a:t>MICROSOFT CONFIDENTIAL</a:t>
            </a:r>
          </a:p>
        </p:txBody>
      </p:sp>
    </p:spTree>
    <p:extLst>
      <p:ext uri="{BB962C8B-B14F-4D97-AF65-F5344CB8AC3E}">
        <p14:creationId xmlns:p14="http://schemas.microsoft.com/office/powerpoint/2010/main" val="2504420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1657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1188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126802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406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0511296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37521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00A5E6-3511-479F-B11D-B66AC00014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199428"/>
      </p:ext>
    </p:extLst>
  </p:cSld>
  <p:clrMapOvr>
    <a:masterClrMapping/>
  </p:clrMapOvr>
  <p:transition>
    <p:fade/>
  </p:transition>
  <p:hf hdr="0"/>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0205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6/1/2022</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8093926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24760420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64557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29511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6/1/2022</a:t>
            </a:fld>
            <a:endParaRPr>
              <a:solidFill>
                <a:srgbClr val="292929">
                  <a:tint val="75000"/>
                </a:srgbClr>
              </a:solidFill>
            </a:endParaRPr>
          </a:p>
        </p:txBody>
      </p:sp>
    </p:spTree>
    <p:extLst>
      <p:ext uri="{BB962C8B-B14F-4D97-AF65-F5344CB8AC3E}">
        <p14:creationId xmlns:p14="http://schemas.microsoft.com/office/powerpoint/2010/main" val="42327623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36172190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gradFill>
                  <a:gsLst>
                    <a:gs pos="0">
                      <a:schemeClr val="bg1"/>
                    </a:gs>
                    <a:gs pos="100000">
                      <a:schemeClr val="bg1"/>
                    </a:gs>
                  </a:gsLst>
                  <a:lin ang="5400000" scaled="1"/>
                </a:gradFill>
              </a:defRPr>
            </a:lvl1pPr>
          </a:lstStyle>
          <a:p>
            <a:r>
              <a:rPr lang="en-US" dirty="0"/>
              <a:t>Click icon to add picture</a:t>
            </a:r>
          </a:p>
        </p:txBody>
      </p:sp>
      <p:sp>
        <p:nvSpPr>
          <p:cNvPr id="2" name="Title 1"/>
          <p:cNvSpPr>
            <a:spLocks noGrp="1"/>
          </p:cNvSpPr>
          <p:nvPr>
            <p:ph type="title" hasCustomPrompt="1"/>
          </p:nvPr>
        </p:nvSpPr>
        <p:spPr>
          <a:xfrm>
            <a:off x="341998" y="465322"/>
            <a:ext cx="4156469" cy="307777"/>
          </a:xfrm>
        </p:spPr>
        <p:txBody>
          <a:bodyPr wrap="square" lIns="0" tIns="0" rIns="0" bIns="0">
            <a:spAutoFit/>
          </a:bodyPr>
          <a:lstStyle>
            <a:lvl1pPr>
              <a:lnSpc>
                <a:spcPts val="2352"/>
              </a:lnSpc>
              <a:defRPr sz="2059" baseline="0">
                <a:gradFill>
                  <a:gsLst>
                    <a:gs pos="0">
                      <a:schemeClr val="tx1"/>
                    </a:gs>
                    <a:gs pos="100000">
                      <a:schemeClr val="tx1"/>
                    </a:gs>
                  </a:gsLst>
                  <a:lin ang="5400000" scaled="1"/>
                </a:gradFill>
              </a:defRPr>
            </a:lvl1pPr>
          </a:lstStyle>
          <a:p>
            <a:r>
              <a:rPr lang="en-US" dirty="0"/>
              <a:t>Photo layout 1</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pPr defTabSz="685644">
              <a:defRPr/>
            </a:pPr>
            <a:r>
              <a:rPr lang="en-US" dirty="0"/>
              <a:t>© Microsoft Corporation                                                                                  							</a:t>
            </a:r>
          </a:p>
        </p:txBody>
      </p:sp>
      <p:sp>
        <p:nvSpPr>
          <p:cNvPr id="9" name="Text Placeholder 8">
            <a:extLst>
              <a:ext uri="{FF2B5EF4-FFF2-40B4-BE49-F238E27FC236}">
                <a16:creationId xmlns:a16="http://schemas.microsoft.com/office/drawing/2014/main" id="{4247FE69-8FB0-4134-986E-B47663576B8F}"/>
              </a:ext>
            </a:extLst>
          </p:cNvPr>
          <p:cNvSpPr>
            <a:spLocks noGrp="1"/>
          </p:cNvSpPr>
          <p:nvPr>
            <p:ph type="body" sz="quarter" idx="11"/>
          </p:nvPr>
        </p:nvSpPr>
        <p:spPr>
          <a:xfrm>
            <a:off x="341996" y="1592267"/>
            <a:ext cx="4063316" cy="507831"/>
          </a:xfrm>
        </p:spPr>
        <p:txBody>
          <a:bodyPr/>
          <a:lstStyle>
            <a:lvl1pPr>
              <a:spcBef>
                <a:spcPts val="900"/>
              </a:spcBef>
              <a:spcAft>
                <a:spcPts val="0"/>
              </a:spcAft>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Semibold"/>
                <a:ea typeface="+mn-ea"/>
                <a:cs typeface="Segoe UI" panose="020B0502040204020203" pitchFamily="34" charset="0"/>
              </a:defRPr>
            </a:lvl1pPr>
            <a:lvl2pPr>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defRPr>
            </a:lvl2pPr>
            <a:lvl3pPr marL="0" marR="0" indent="0" algn="l" defTabSz="684972" rtl="0" eaLnBrk="1" fontAlgn="base" latinLnBrk="0" hangingPunct="1">
              <a:lnSpc>
                <a:spcPct val="100000"/>
              </a:lnSpc>
              <a:spcBef>
                <a:spcPts val="881"/>
              </a:spcBef>
              <a:spcAft>
                <a:spcPts val="0"/>
              </a:spcAft>
              <a:buClrTx/>
              <a:buSzPct val="90000"/>
              <a:buFont typeface="Arial" pitchFamily="34" charset="0"/>
              <a:buNone/>
              <a:tabLst/>
              <a:defRPr lang="en-US" sz="1050" b="1" kern="1200" spc="0" baseline="0" dirty="0" smtClean="0">
                <a:solidFill>
                  <a:schemeClr val="tx2"/>
                </a:solidFill>
                <a:latin typeface="Segoe UI"/>
                <a:ea typeface="+mn-ea"/>
                <a:cs typeface="+mn-cs"/>
              </a:defRPr>
            </a:lvl3pPr>
            <a:lvl4pPr>
              <a:defRPr sz="1050"/>
            </a:lvl4pPr>
            <a:lvl5pPr>
              <a:defRPr sz="105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3585681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12142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B7C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gradFill>
                  <a:gsLst>
                    <a:gs pos="0">
                      <a:srgbClr val="002050"/>
                    </a:gs>
                    <a:gs pos="100000">
                      <a:srgbClr val="002050"/>
                    </a:gs>
                  </a:gsLst>
                  <a:lin ang="0" scaled="0"/>
                </a:gradFill>
              </a:defRPr>
            </a:lvl1pPr>
            <a:lvl2pPr>
              <a:defRPr sz="1324">
                <a:gradFill>
                  <a:gsLst>
                    <a:gs pos="0">
                      <a:srgbClr val="002050"/>
                    </a:gs>
                    <a:gs pos="100000">
                      <a:srgbClr val="002050"/>
                    </a:gs>
                  </a:gsLst>
                  <a:lin ang="0" scaled="0"/>
                </a:gra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25049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426141"/>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8541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339804416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62888222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8598"/>
          </a:xfrm>
        </p:spPr>
        <p:txBody>
          <a:bodyPr/>
          <a:lstStyle>
            <a:lvl1pPr>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1775871"/>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577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826342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6322349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1024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29767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96084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gradFill>
                  <a:gsLst>
                    <a:gs pos="0">
                      <a:schemeClr val="bg1"/>
                    </a:gs>
                    <a:gs pos="100000">
                      <a:schemeClr val="bg1"/>
                    </a:gs>
                  </a:gsLst>
                  <a:lin ang="0" scaled="0"/>
                </a:gradFill>
              </a:defRPr>
            </a:lvl1pPr>
            <a:lvl2pPr>
              <a:defRPr sz="1324">
                <a:gradFill>
                  <a:gsLst>
                    <a:gs pos="0">
                      <a:schemeClr val="bg1"/>
                    </a:gs>
                    <a:gs pos="100000">
                      <a:schemeClr val="bg1"/>
                    </a:gs>
                  </a:gsLst>
                  <a:lin ang="0" scaled="0"/>
                </a:gra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gradFill>
                  <a:gsLst>
                    <a:gs pos="0">
                      <a:schemeClr val="bg1"/>
                    </a:gs>
                    <a:gs pos="100000">
                      <a:schemeClr val="bg1"/>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971933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6073351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992579"/>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50064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6573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149422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2148264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625224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180266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32044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6855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02335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393430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31009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474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5705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6352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48729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416083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67739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40825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47849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8511676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3068621" y="333975"/>
            <a:ext cx="5754429" cy="4475654"/>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gradFill>
                  <a:gsLst>
                    <a:gs pos="0">
                      <a:schemeClr val="bg1"/>
                    </a:gs>
                    <a:gs pos="100000">
                      <a:schemeClr val="bg1"/>
                    </a:gs>
                  </a:gsLst>
                  <a:lin ang="5400000" scaled="1"/>
                </a:gra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71426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455149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84276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590702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4559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817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9358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322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42803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7033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77238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gradFill>
                  <a:gsLst>
                    <a:gs pos="0">
                      <a:schemeClr val="tx1"/>
                    </a:gs>
                    <a:gs pos="100000">
                      <a:schemeClr val="tx1"/>
                    </a:gs>
                  </a:gsLst>
                  <a:lin ang="5400000" scaled="1"/>
                </a:gra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4631367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086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2671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965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7416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347653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Tree>
    <p:extLst>
      <p:ext uri="{BB962C8B-B14F-4D97-AF65-F5344CB8AC3E}">
        <p14:creationId xmlns:p14="http://schemas.microsoft.com/office/powerpoint/2010/main" val="35423467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3203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6/1/2022</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16655821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30219168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4438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gradFill>
                  <a:gsLst>
                    <a:gs pos="0">
                      <a:schemeClr val="tx1"/>
                    </a:gs>
                    <a:gs pos="100000">
                      <a:schemeClr val="tx1"/>
                    </a:gs>
                  </a:gsLst>
                  <a:lin ang="5400000" scaled="1"/>
                </a:gra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341996" y="417286"/>
            <a:ext cx="4330386"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391938420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0401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6/1/2022</a:t>
            </a:fld>
            <a:endParaRPr>
              <a:solidFill>
                <a:srgbClr val="292929">
                  <a:tint val="75000"/>
                </a:srgbClr>
              </a:solidFill>
            </a:endParaRPr>
          </a:p>
        </p:txBody>
      </p:sp>
    </p:spTree>
    <p:extLst>
      <p:ext uri="{BB962C8B-B14F-4D97-AF65-F5344CB8AC3E}">
        <p14:creationId xmlns:p14="http://schemas.microsoft.com/office/powerpoint/2010/main" val="394583861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9592309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823663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063493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18511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3248060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7338" y="0"/>
            <a:ext cx="6675555" cy="3756173"/>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3320872" y="742643"/>
            <a:ext cx="6192131" cy="3658214"/>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print">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print">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5350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876708"/>
            <a:ext cx="2713786" cy="674749"/>
          </a:xfrm>
        </p:spPr>
        <p:txBody>
          <a:bodyPr lIns="0" tIns="0" rIns="0" bIns="0"/>
          <a:lstStyle>
            <a:lvl1pPr>
              <a:defRPr sz="132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672382" y="876707"/>
            <a:ext cx="2878364" cy="2840249"/>
          </a:xfrm>
        </p:spPr>
        <p:txBody>
          <a:bodyPr wrap="square" lIns="0" tIns="0" rIns="0" bIns="0">
            <a:noAutofit/>
          </a:bodyPr>
          <a:lstStyle>
            <a:lvl1pPr marL="0" indent="0" defTabSz="380498">
              <a:spcAft>
                <a:spcPts val="368"/>
              </a:spcAft>
              <a:buNone/>
              <a:defRPr sz="1324" spc="0" baseline="0">
                <a:solidFill>
                  <a:schemeClr val="tx2"/>
                </a:solidFill>
              </a:defRPr>
            </a:lvl1pPr>
            <a:lvl2pPr marL="168073" indent="0">
              <a:buNone/>
              <a:defRPr sz="1324"/>
            </a:lvl2pPr>
            <a:lvl3pPr marL="336145" indent="0">
              <a:buNone/>
              <a:defRPr sz="1324"/>
            </a:lvl3pPr>
            <a:lvl4pPr marL="504218" indent="0">
              <a:buNone/>
              <a:defRPr sz="1324"/>
            </a:lvl4pPr>
            <a:lvl5pPr marL="672290" indent="0">
              <a:buNone/>
              <a:defRPr sz="1324"/>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3332511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452654"/>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48960"/>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4586695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16182477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341997" y="1441940"/>
            <a:ext cx="7038335" cy="452654"/>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34199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323883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6112470"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94216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341997"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3227363"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807278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48719" y="1199793"/>
            <a:ext cx="2707063" cy="2324545"/>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3225030" y="1199793"/>
            <a:ext cx="2707063" cy="2324545"/>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6108063" y="1199791"/>
            <a:ext cx="2707063" cy="2324546"/>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32273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92854961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341997" y="1619165"/>
            <a:ext cx="1269935" cy="671891"/>
          </a:xfrm>
        </p:spPr>
        <p:txBody>
          <a:bodyPr>
            <a:noAutofit/>
          </a:bodyPr>
          <a:lstStyle>
            <a:lvl1pPr marL="0" indent="0">
              <a:buNone/>
              <a:defRPr sz="1471"/>
            </a:lvl1pPr>
          </a:lstStyle>
          <a:p>
            <a:pPr lvl="0"/>
            <a:r>
              <a:rPr lang="en-US"/>
              <a:t>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341997" y="2375864"/>
            <a:ext cx="1269935" cy="2027222"/>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17837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32254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46672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61089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7550746"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1783747" y="1619165"/>
            <a:ext cx="1269935" cy="671891"/>
          </a:xfrm>
        </p:spPr>
        <p:txBody>
          <a:bodyPr>
            <a:noAutofit/>
          </a:bodyPr>
          <a:lstStyle>
            <a:lvl1pPr marL="0" indent="0">
              <a:buNone/>
              <a:defRPr sz="1471"/>
            </a:lvl1pPr>
          </a:lstStyle>
          <a:p>
            <a:pPr lvl="0"/>
            <a:r>
              <a:rPr lang="en-US"/>
              <a:t>Picture</a:t>
            </a:r>
          </a:p>
        </p:txBody>
      </p:sp>
      <p:sp>
        <p:nvSpPr>
          <p:cNvPr id="26" name="Content Placeholder 15"/>
          <p:cNvSpPr>
            <a:spLocks noGrp="1"/>
          </p:cNvSpPr>
          <p:nvPr>
            <p:ph sz="quarter" idx="27" hasCustomPrompt="1"/>
          </p:nvPr>
        </p:nvSpPr>
        <p:spPr>
          <a:xfrm>
            <a:off x="3225497" y="1619165"/>
            <a:ext cx="1269935" cy="671891"/>
          </a:xfrm>
        </p:spPr>
        <p:txBody>
          <a:bodyPr>
            <a:noAutofit/>
          </a:bodyPr>
          <a:lstStyle>
            <a:lvl1pPr marL="0" indent="0">
              <a:buNone/>
              <a:defRPr sz="1471"/>
            </a:lvl1pPr>
          </a:lstStyle>
          <a:p>
            <a:pPr lvl="0"/>
            <a:r>
              <a:rPr lang="en-US"/>
              <a:t>Picture</a:t>
            </a:r>
          </a:p>
        </p:txBody>
      </p:sp>
      <p:sp>
        <p:nvSpPr>
          <p:cNvPr id="27" name="Content Placeholder 15"/>
          <p:cNvSpPr>
            <a:spLocks noGrp="1"/>
          </p:cNvSpPr>
          <p:nvPr>
            <p:ph sz="quarter" idx="28" hasCustomPrompt="1"/>
          </p:nvPr>
        </p:nvSpPr>
        <p:spPr>
          <a:xfrm>
            <a:off x="4667247" y="1619165"/>
            <a:ext cx="1269935" cy="671891"/>
          </a:xfrm>
        </p:spPr>
        <p:txBody>
          <a:bodyPr>
            <a:noAutofit/>
          </a:bodyPr>
          <a:lstStyle>
            <a:lvl1pPr marL="0" indent="0">
              <a:buNone/>
              <a:defRPr sz="1471"/>
            </a:lvl1pPr>
          </a:lstStyle>
          <a:p>
            <a:pPr lvl="0"/>
            <a:r>
              <a:rPr lang="en-US"/>
              <a:t>Picture</a:t>
            </a:r>
          </a:p>
        </p:txBody>
      </p:sp>
      <p:sp>
        <p:nvSpPr>
          <p:cNvPr id="28" name="Content Placeholder 15"/>
          <p:cNvSpPr>
            <a:spLocks noGrp="1"/>
          </p:cNvSpPr>
          <p:nvPr>
            <p:ph sz="quarter" idx="29" hasCustomPrompt="1"/>
          </p:nvPr>
        </p:nvSpPr>
        <p:spPr>
          <a:xfrm>
            <a:off x="6108997" y="1619165"/>
            <a:ext cx="1269935" cy="671891"/>
          </a:xfrm>
        </p:spPr>
        <p:txBody>
          <a:bodyPr>
            <a:noAutofit/>
          </a:bodyPr>
          <a:lstStyle>
            <a:lvl1pPr marL="0" indent="0">
              <a:buNone/>
              <a:defRPr sz="1471"/>
            </a:lvl1pPr>
          </a:lstStyle>
          <a:p>
            <a:pPr lvl="0"/>
            <a:r>
              <a:rPr lang="en-US"/>
              <a:t>Picture</a:t>
            </a:r>
          </a:p>
        </p:txBody>
      </p:sp>
      <p:sp>
        <p:nvSpPr>
          <p:cNvPr id="29" name="Content Placeholder 15"/>
          <p:cNvSpPr>
            <a:spLocks noGrp="1"/>
          </p:cNvSpPr>
          <p:nvPr>
            <p:ph sz="quarter" idx="30" hasCustomPrompt="1"/>
          </p:nvPr>
        </p:nvSpPr>
        <p:spPr>
          <a:xfrm>
            <a:off x="7550746" y="1619165"/>
            <a:ext cx="1269935" cy="671891"/>
          </a:xfrm>
        </p:spPr>
        <p:txBody>
          <a:bodyPr>
            <a:noAutofit/>
          </a:bodyPr>
          <a:lstStyle>
            <a:lvl1pPr marL="0" indent="0">
              <a:buNone/>
              <a:defRPr sz="147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341997"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178468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3227364"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4672382"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610456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7550746"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8166574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74575172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3031270" y="330959"/>
            <a:ext cx="5770735" cy="4481582"/>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706269"/>
            <a:ext cx="3663902" cy="2445672"/>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225426308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3553764"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1366426"/>
            <a:ext cx="3663902" cy="2445672"/>
          </a:xfrm>
          <a:noFill/>
        </p:spPr>
        <p:txBody>
          <a:bodyPr vert="horz" wrap="square" lIns="0" tIns="0" rIns="0" bIns="0" rtlCol="0" anchor="t" anchorCtr="0">
            <a:noAutofit/>
          </a:bodyPr>
          <a:lstStyle>
            <a:lvl1pPr>
              <a:defRPr lang="en-US" sz="2941" spc="-37" baseline="0" dirty="0">
                <a:solidFill>
                  <a:schemeClr val="tx1"/>
                </a:solidFill>
                <a:latin typeface="+mn-lt"/>
              </a:defRPr>
            </a:lvl1pPr>
          </a:lstStyle>
          <a:p>
            <a:pPr marL="0" lvl="0">
              <a:lnSpc>
                <a:spcPts val="4118"/>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5524981" y="-124129"/>
            <a:ext cx="5449542" cy="5800492"/>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2312807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2"/>
                </a:solidFill>
              </a:defRPr>
            </a:lvl1pPr>
          </a:lstStyle>
          <a:p>
            <a:pPr marL="0" lvl="0">
              <a:lnSpc>
                <a:spcPts val="4118"/>
              </a:lnSpc>
            </a:pPr>
            <a:r>
              <a:rPr lang="en-US"/>
              <a:t>Section title</a:t>
            </a:r>
          </a:p>
        </p:txBody>
      </p:sp>
    </p:spTree>
    <p:extLst>
      <p:ext uri="{BB962C8B-B14F-4D97-AF65-F5344CB8AC3E}">
        <p14:creationId xmlns:p14="http://schemas.microsoft.com/office/powerpoint/2010/main" val="605437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3866610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4156469" cy="307777"/>
          </a:xfrm>
        </p:spPr>
        <p:txBody>
          <a:bodyPr wrap="square" lIns="0" tIns="0" rIns="0" bIns="0">
            <a:spAutoFit/>
          </a:bodyPr>
          <a:lstStyle>
            <a:lvl1pPr>
              <a:lnSpc>
                <a:spcPts val="2353"/>
              </a:lnSpc>
              <a:defRPr sz="2059"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341996" y="1772718"/>
            <a:ext cx="3617214" cy="1963102"/>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675603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6555287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5649814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solidFill>
                  <a:schemeClr val="tx1"/>
                </a:soli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solidFill>
                  <a:schemeClr val="tx1"/>
                </a:soli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91593771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79758452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3187" y="365211"/>
            <a:ext cx="8152448" cy="4778290"/>
          </a:xfrm>
          <a:prstGeom prst="rect">
            <a:avLst/>
          </a:prstGeom>
        </p:spPr>
      </p:pic>
    </p:spTree>
    <p:extLst>
      <p:ext uri="{BB962C8B-B14F-4D97-AF65-F5344CB8AC3E}">
        <p14:creationId xmlns:p14="http://schemas.microsoft.com/office/powerpoint/2010/main" val="22798916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6561298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341997" y="1463086"/>
            <a:ext cx="2713783" cy="2651132"/>
          </a:xfrm>
        </p:spPr>
        <p:txBody>
          <a:bodyPr anchor="ctr">
            <a:noAutofit/>
          </a:bodyPr>
          <a:lstStyle>
            <a:lvl1pPr marL="0" indent="0" algn="ctr">
              <a:buNone/>
              <a:defRPr sz="1765"/>
            </a:lvl1pPr>
          </a:lstStyle>
          <a:p>
            <a:r>
              <a:rPr lang="en-US"/>
              <a:t>Click icon to add chart</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341994" y="4392871"/>
            <a:ext cx="2713786" cy="226328"/>
          </a:xfrm>
        </p:spPr>
        <p:txBody>
          <a:bodyPr lIns="0" tIns="0" rIns="0" bIns="0"/>
          <a:lstStyle>
            <a:lvl1pPr marL="0" indent="0">
              <a:lnSpc>
                <a:spcPts val="882"/>
              </a:lnSpc>
              <a:spcBef>
                <a:spcPts val="662"/>
              </a:spcBef>
              <a:buFont typeface="Arial" panose="020B0604020202020204" pitchFamily="34" charset="0"/>
              <a:buNone/>
              <a:defRPr sz="735" b="0" i="0" spc="0">
                <a:solidFill>
                  <a:schemeClr val="tx1"/>
                </a:solidFill>
                <a:latin typeface="+mn-lt"/>
              </a:defRPr>
            </a:lvl1pPr>
            <a:lvl2pPr marL="0" marR="0" indent="0" algn="l" defTabSz="685775" rtl="0" eaLnBrk="1" fontAlgn="auto" latinLnBrk="0" hangingPunct="1">
              <a:lnSpc>
                <a:spcPts val="882"/>
              </a:lnSpc>
              <a:spcBef>
                <a:spcPts val="331"/>
              </a:spcBef>
              <a:spcAft>
                <a:spcPts val="0"/>
              </a:spcAft>
              <a:buClrTx/>
              <a:buSzPct val="90000"/>
              <a:buFont typeface="Arial" panose="020B0604020202020204" pitchFamily="34" charset="0"/>
              <a:buNone/>
              <a:tabLst/>
              <a:defRPr sz="735">
                <a:solidFill>
                  <a:schemeClr val="tx1"/>
                </a:solidFill>
              </a:defRPr>
            </a:lvl2pPr>
            <a:lvl3pPr marL="336145" indent="0">
              <a:buNone/>
              <a:defRPr/>
            </a:lvl3pPr>
            <a:lvl4pPr marL="504218" indent="0">
              <a:buNone/>
              <a:defRPr/>
            </a:lvl4pPr>
            <a:lvl5pPr marL="67229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3227365"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3227365" y="1463086"/>
            <a:ext cx="2705615" cy="2651132"/>
          </a:xfrm>
        </p:spPr>
        <p:txBody>
          <a:bodyPr anchor="ctr">
            <a:noAutofit/>
          </a:bodyPr>
          <a:lstStyle>
            <a:lvl1pPr marL="0" indent="0" algn="ctr">
              <a:buNone/>
              <a:defRPr sz="1765"/>
            </a:lvl1pPr>
          </a:lstStyle>
          <a:p>
            <a:r>
              <a:rPr lang="en-US"/>
              <a:t>Click icon to add chart</a:t>
            </a:r>
          </a:p>
        </p:txBody>
      </p:sp>
      <p:sp>
        <p:nvSpPr>
          <p:cNvPr id="21" name="Chart Placeholder 6"/>
          <p:cNvSpPr>
            <a:spLocks noGrp="1"/>
          </p:cNvSpPr>
          <p:nvPr>
            <p:ph type="chart" sz="quarter" idx="23"/>
          </p:nvPr>
        </p:nvSpPr>
        <p:spPr>
          <a:xfrm>
            <a:off x="6104560" y="1463086"/>
            <a:ext cx="2717288" cy="2651132"/>
          </a:xfrm>
        </p:spPr>
        <p:txBody>
          <a:bodyPr anchor="ctr">
            <a:noAutofit/>
          </a:bodyPr>
          <a:lstStyle>
            <a:lvl1pPr marL="0" indent="0" algn="ctr">
              <a:buNone/>
              <a:defRPr sz="1765"/>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34199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323553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04560"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104560"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42155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able styling</a:t>
            </a:r>
          </a:p>
        </p:txBody>
      </p:sp>
      <p:sp>
        <p:nvSpPr>
          <p:cNvPr id="4" name="Table Placeholder 3"/>
          <p:cNvSpPr>
            <a:spLocks noGrp="1"/>
          </p:cNvSpPr>
          <p:nvPr>
            <p:ph type="tbl" sz="quarter" idx="10"/>
          </p:nvPr>
        </p:nvSpPr>
        <p:spPr>
          <a:xfrm>
            <a:off x="341997" y="2920532"/>
            <a:ext cx="8479852" cy="456279"/>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948131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340628" y="4838398"/>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443" eaLnBrk="0" hangingPunct="0"/>
            <a:r>
              <a:rPr lang="en-US" sz="515">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41996" y="1383958"/>
            <a:ext cx="5590983" cy="1105047"/>
          </a:xfrm>
          <a:noFill/>
        </p:spPr>
        <p:txBody>
          <a:bodyPr lIns="0" tIns="0" rIns="0" bIns="0" anchor="t" anchorCtr="0"/>
          <a:lstStyle>
            <a:lvl1pPr>
              <a:lnSpc>
                <a:spcPct val="100000"/>
              </a:lnSpc>
              <a:spcAft>
                <a:spcPts val="956"/>
              </a:spcAft>
              <a:defRPr sz="1912" spc="-37"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0584"/>
          <a:stretch/>
        </p:blipFill>
        <p:spPr>
          <a:xfrm>
            <a:off x="205687" y="192878"/>
            <a:ext cx="839948" cy="426893"/>
          </a:xfrm>
          <a:prstGeom prst="rect">
            <a:avLst/>
          </a:prstGeom>
        </p:spPr>
      </p:pic>
    </p:spTree>
    <p:extLst>
      <p:ext uri="{BB962C8B-B14F-4D97-AF65-F5344CB8AC3E}">
        <p14:creationId xmlns:p14="http://schemas.microsoft.com/office/powerpoint/2010/main" val="1850683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V="1">
            <a:off x="5812972" y="3269797"/>
            <a:ext cx="3331028" cy="1873703"/>
          </a:xfrm>
          <a:prstGeom prst="rect">
            <a:avLst/>
          </a:prstGeom>
        </p:spPr>
      </p:pic>
      <p:sp>
        <p:nvSpPr>
          <p:cNvPr id="2" name="Title 1"/>
          <p:cNvSpPr>
            <a:spLocks noGrp="1"/>
          </p:cNvSpPr>
          <p:nvPr>
            <p:ph type="title"/>
          </p:nvPr>
        </p:nvSpPr>
        <p:spPr>
          <a:xfrm>
            <a:off x="201931" y="217134"/>
            <a:ext cx="8621792" cy="678217"/>
          </a:xfrm>
        </p:spPr>
        <p:txBody>
          <a:bodyPr/>
          <a:lstStyle>
            <a:lvl1pPr algn="l" defTabSz="685644" rtl="0" eaLnBrk="1" latinLnBrk="0" hangingPunct="1">
              <a:lnSpc>
                <a:spcPct val="90000"/>
              </a:lnSpc>
              <a:spcBef>
                <a:spcPct val="0"/>
              </a:spcBef>
              <a:buNone/>
              <a:defRPr lang="en-US" sz="2400" b="0" kern="1200" cap="none" spc="-75"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10120997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2"/>
            <a:ext cx="8479852" cy="307777"/>
          </a:xfrm>
        </p:spPr>
        <p:txBody>
          <a:bodyPr wrap="square" lIns="0" tIns="0" rIns="0" bIns="0">
            <a:spAutoFit/>
          </a:bodyPr>
          <a:lstStyle>
            <a:lvl1pPr>
              <a:lnSpc>
                <a:spcPts val="2352"/>
              </a:lnSpc>
              <a:defRPr sz="2059">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343254" y="1048408"/>
            <a:ext cx="4094739" cy="693460"/>
          </a:xfrm>
        </p:spPr>
        <p:txBody>
          <a:bodyPr lIns="0" tIns="0" rIns="0" bIns="0"/>
          <a:lstStyle>
            <a:lvl1pPr marL="0" indent="0">
              <a:lnSpc>
                <a:spcPts val="1324"/>
              </a:lnSpc>
              <a:spcBef>
                <a:spcPts val="662"/>
              </a:spcBef>
              <a:buNone/>
              <a:defRPr lang="en-US" sz="1028" b="0" kern="1200" spc="0" baseline="0" dirty="0">
                <a:solidFill>
                  <a:schemeClr val="tx2"/>
                </a:solidFill>
                <a:latin typeface="+mj-lt"/>
                <a:ea typeface="+mn-ea"/>
                <a:cs typeface="+mn-cs"/>
              </a:defRPr>
            </a:lvl1pPr>
            <a:lvl2pPr marL="0" marR="0" indent="0" algn="l" defTabSz="685644" rtl="0" eaLnBrk="1" fontAlgn="auto" latinLnBrk="0" hangingPunct="1">
              <a:lnSpc>
                <a:spcPts val="1324"/>
              </a:lnSpc>
              <a:spcBef>
                <a:spcPts val="331"/>
              </a:spcBef>
              <a:spcAft>
                <a:spcPts val="0"/>
              </a:spcAft>
              <a:buClrTx/>
              <a:buSzPct val="90000"/>
              <a:buFont typeface="Arial" panose="020B0604020202020204" pitchFamily="34" charset="0"/>
              <a:buNone/>
              <a:tabLst/>
              <a:defRPr sz="1028">
                <a:solidFill>
                  <a:schemeClr val="tx1"/>
                </a:solidFill>
              </a:defRPr>
            </a:lvl2pPr>
            <a:lvl3pPr marL="336080" indent="0">
              <a:buNone/>
              <a:defRPr/>
            </a:lvl3pPr>
            <a:lvl4pPr marL="504121" indent="0">
              <a:buNone/>
              <a:defRPr/>
            </a:lvl4pPr>
            <a:lvl5pPr marL="672161" indent="0">
              <a:buNone/>
              <a:defRPr/>
            </a:lvl5pPr>
          </a:lstStyle>
          <a:p>
            <a:pPr marL="0" marR="0" lvl="0" indent="0" algn="l" defTabSz="685644"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74565445"/>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image" Target="../media/image15.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theme" Target="../theme/theme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image" Target="../media/image2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theme" Target="../theme/theme4.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52.png"/><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image" Target="../media/image5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image" Target="../media/image15.emf"/><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41" Type="http://schemas.openxmlformats.org/officeDocument/2006/relationships/theme" Target="../theme/theme5.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78604170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9" r:id="rId6"/>
    <p:sldLayoutId id="2147483906" r:id="rId7"/>
    <p:sldLayoutId id="2147483907" r:id="rId8"/>
    <p:sldLayoutId id="2147483908" r:id="rId9"/>
    <p:sldLayoutId id="2147483910" r:id="rId10"/>
    <p:sldLayoutId id="2147483915" r:id="rId11"/>
    <p:sldLayoutId id="2147483916" r:id="rId12"/>
    <p:sldLayoutId id="2147483917" r:id="rId13"/>
    <p:sldLayoutId id="2147483918" r:id="rId14"/>
    <p:sldLayoutId id="2147483919" r:id="rId15"/>
    <p:sldLayoutId id="2147483920" r:id="rId16"/>
    <p:sldLayoutId id="2147483924" r:id="rId17"/>
    <p:sldLayoutId id="2147483926" r:id="rId18"/>
    <p:sldLayoutId id="2147484105" r:id="rId19"/>
    <p:sldLayoutId id="2147484109" r:id="rId20"/>
    <p:sldLayoutId id="2147484110" r:id="rId21"/>
    <p:sldLayoutId id="2147484111" r:id="rId22"/>
    <p:sldLayoutId id="2147484112" r:id="rId23"/>
    <p:sldLayoutId id="2147484113" r:id="rId24"/>
    <p:sldLayoutId id="2147484121" r:id="rId25"/>
    <p:sldLayoutId id="2147484123" r:id="rId26"/>
    <p:sldLayoutId id="2147484124" r:id="rId27"/>
    <p:sldLayoutId id="2147484168" r:id="rId28"/>
    <p:sldLayoutId id="2147484169" r:id="rId29"/>
    <p:sldLayoutId id="2147484170" r:id="rId30"/>
    <p:sldLayoutId id="2147484232" r:id="rId31"/>
    <p:sldLayoutId id="2147484233" r:id="rId32"/>
  </p:sldLayoutIdLst>
  <p:transition>
    <p:fade/>
  </p:transition>
  <p:txStyles>
    <p:titleStyle>
      <a:lvl1pPr algn="l" defTabSz="685775" rtl="0" eaLnBrk="1" latinLnBrk="0" hangingPunct="1">
        <a:lnSpc>
          <a:spcPct val="90000"/>
        </a:lnSpc>
        <a:spcBef>
          <a:spcPct val="0"/>
        </a:spcBef>
        <a:buNone/>
        <a:defRPr lang="en-US" sz="2059" b="0" kern="1200" cap="none" spc="-37"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gradFill>
            <a:gsLst>
              <a:gs pos="0">
                <a:schemeClr val="tx1"/>
              </a:gs>
              <a:gs pos="100000">
                <a:schemeClr val="tx1"/>
              </a:gs>
            </a:gsLst>
            <a:lin ang="5400000" scaled="1"/>
          </a:gra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gradFill>
            <a:gsLst>
              <a:gs pos="0">
                <a:schemeClr val="tx1"/>
              </a:gs>
              <a:gs pos="100000">
                <a:schemeClr val="tx1"/>
              </a:gs>
            </a:gsLst>
            <a:lin ang="5400000" scaled="1"/>
          </a:gra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rgbClr val="002050"/>
              </a:gs>
              <a:gs pos="100000">
                <a:srgbClr val="002050"/>
              </a:gs>
            </a:gsLst>
            <a:lin ang="5400000" scaled="1"/>
          </a:gra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chemeClr val="tx1"/>
              </a:gs>
              <a:gs pos="100000">
                <a:schemeClr val="tx1"/>
              </a:gs>
            </a:gsLst>
            <a:lin ang="5400000" scaled="1"/>
          </a:gra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gradFill>
            <a:gsLst>
              <a:gs pos="0">
                <a:schemeClr val="tx1"/>
              </a:gs>
              <a:gs pos="100000">
                <a:schemeClr val="tx1"/>
              </a:gs>
            </a:gsLst>
            <a:lin ang="5400000" scaled="1"/>
          </a:gra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gradFill>
            <a:gsLst>
              <a:gs pos="0">
                <a:schemeClr val="tx1"/>
              </a:gs>
              <a:gs pos="100000">
                <a:schemeClr val="tx1"/>
              </a:gs>
            </a:gsLst>
            <a:lin ang="5400000" scaled="1"/>
          </a:gra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868143962"/>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 id="2147484149" r:id="rId23"/>
    <p:sldLayoutId id="2147484150" r:id="rId24"/>
    <p:sldLayoutId id="2147484151" r:id="rId25"/>
    <p:sldLayoutId id="2147484152" r:id="rId26"/>
    <p:sldLayoutId id="2147484153" r:id="rId27"/>
    <p:sldLayoutId id="2147484154" r:id="rId28"/>
    <p:sldLayoutId id="2147484155" r:id="rId29"/>
    <p:sldLayoutId id="2147484156" r:id="rId30"/>
    <p:sldLayoutId id="2147484157" r:id="rId31"/>
    <p:sldLayoutId id="2147484158" r:id="rId32"/>
    <p:sldLayoutId id="2147484159" r:id="rId33"/>
    <p:sldLayoutId id="2147484160" r:id="rId34"/>
    <p:sldLayoutId id="2147484161" r:id="rId35"/>
    <p:sldLayoutId id="2147484162" r:id="rId36"/>
    <p:sldLayoutId id="2147484163" r:id="rId37"/>
    <p:sldLayoutId id="2147484164" r:id="rId38"/>
    <p:sldLayoutId id="2147484165" r:id="rId39"/>
    <p:sldLayoutId id="2147484166"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8" cstate="screen">
            <a:extLst>
              <a:ext uri="{28A0092B-C50C-407E-A947-70E740481C1C}">
                <a14:useLocalDpi xmlns:a14="http://schemas.microsoft.com/office/drawing/2010/main"/>
              </a:ext>
            </a:extLst>
          </a:blip>
          <a:srcRect b="249"/>
          <a:stretch/>
        </p:blipFill>
        <p:spPr>
          <a:xfrm>
            <a:off x="9219802" y="0"/>
            <a:ext cx="502121" cy="51435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22381839"/>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 id="2147484201" r:id="rId30"/>
    <p:sldLayoutId id="2147484203" r:id="rId31"/>
    <p:sldLayoutId id="2147484204" r:id="rId32"/>
    <p:sldLayoutId id="2147484205" r:id="rId33"/>
    <p:sldLayoutId id="2147484206" r:id="rId34"/>
    <p:sldLayoutId id="2147484207" r:id="rId35"/>
    <p:sldLayoutId id="2147484208" r:id="rId36"/>
    <p:sldLayoutId id="2147484209" r:id="rId37"/>
    <p:sldLayoutId id="2147484210" r:id="rId38"/>
    <p:sldLayoutId id="2147484212" r:id="rId39"/>
    <p:sldLayoutId id="2147484213" r:id="rId40"/>
    <p:sldLayoutId id="2147484214" r:id="rId41"/>
    <p:sldLayoutId id="2147484215" r:id="rId42"/>
    <p:sldLayoutId id="2147484216" r:id="rId43"/>
    <p:sldLayoutId id="2147484217" r:id="rId44"/>
    <p:sldLayoutId id="2147484218" r:id="rId45"/>
    <p:sldLayoutId id="2147484219" r:id="rId46"/>
  </p:sldLayoutIdLst>
  <p:transition>
    <p:fade/>
  </p:transition>
  <p:hf sldNum="0" hdr="0" dt="0"/>
  <p:txStyles>
    <p:titleStyle>
      <a:lvl1pPr algn="l" defTabSz="685775" rtl="0" eaLnBrk="1" latinLnBrk="0" hangingPunct="1">
        <a:lnSpc>
          <a:spcPct val="90000"/>
        </a:lnSpc>
        <a:spcBef>
          <a:spcPct val="0"/>
        </a:spcBef>
        <a:buNone/>
        <a:defRPr lang="en-US" sz="2059" b="0" kern="1200" cap="none" spc="-37" baseline="0" dirty="0" smtClean="0">
          <a:ln w="3175">
            <a:noFill/>
          </a:ln>
          <a:solidFill>
            <a:schemeClr val="tx1"/>
          </a:soli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solidFill>
            <a:schemeClr val="tx1"/>
          </a:soli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solidFill>
            <a:schemeClr val="tx1"/>
          </a:soli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2"/>
          </a:soli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1"/>
          </a:soli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solidFill>
            <a:schemeClr val="tx1"/>
          </a:soli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062" y="442440"/>
            <a:ext cx="8207890" cy="558010"/>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82063" y="1399961"/>
            <a:ext cx="8207890" cy="87588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7266613" y="2259060"/>
            <a:ext cx="5143967" cy="624914"/>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6779909" y="2416196"/>
            <a:ext cx="5143500" cy="311109"/>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0" y="-681753"/>
            <a:ext cx="3903183" cy="558010"/>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0714486"/>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4" r:id="rId10"/>
    <p:sldLayoutId id="2147484235" r:id="rId11"/>
    <p:sldLayoutId id="2147484236" r:id="rId12"/>
    <p:sldLayoutId id="2147484237" r:id="rId13"/>
    <p:sldLayoutId id="2147484238" r:id="rId14"/>
    <p:sldLayoutId id="2147484239" r:id="rId15"/>
    <p:sldLayoutId id="2147484242" r:id="rId16"/>
    <p:sldLayoutId id="2147484243" r:id="rId17"/>
    <p:sldLayoutId id="2147484244" r:id="rId18"/>
    <p:sldLayoutId id="2147484247" r:id="rId19"/>
    <p:sldLayoutId id="2147484289" r:id="rId20"/>
  </p:sldLayoutIdLst>
  <p:transition>
    <p:fade/>
  </p:transition>
  <p:txStyles>
    <p:titleStyle>
      <a:lvl1pPr algn="l" defTabSz="685845" rtl="0" eaLnBrk="1" latinLnBrk="0" hangingPunct="1">
        <a:lnSpc>
          <a:spcPct val="90000"/>
        </a:lnSpc>
        <a:spcBef>
          <a:spcPct val="0"/>
        </a:spcBef>
        <a:buNone/>
        <a:defRPr lang="en-US" sz="2059" b="0" kern="1200" cap="none" spc="-110" baseline="0" dirty="0" smtClean="0">
          <a:ln w="3175">
            <a:noFill/>
          </a:ln>
          <a:solidFill>
            <a:srgbClr val="000000"/>
          </a:solidFill>
          <a:effectLst/>
          <a:latin typeface="+mj-lt"/>
          <a:ea typeface="+mn-ea"/>
          <a:cs typeface="Segoe UI" pitchFamily="34" charset="0"/>
        </a:defRPr>
      </a:lvl1pPr>
    </p:titleStyle>
    <p:bodyStyle>
      <a:lvl1pPr marL="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1pPr>
      <a:lvl2pPr marL="16809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324" kern="1200" spc="0" baseline="0">
          <a:solidFill>
            <a:srgbClr val="000000"/>
          </a:solidFill>
          <a:latin typeface="+mn-lt"/>
          <a:ea typeface="+mn-ea"/>
          <a:cs typeface="+mn-cs"/>
        </a:defRPr>
      </a:lvl2pPr>
      <a:lvl3pPr marL="33617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3pPr>
      <a:lvl4pPr marL="50426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4pPr>
      <a:lvl5pPr marL="672358"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009386054"/>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 id="2147484270" r:id="rId22"/>
    <p:sldLayoutId id="2147484271" r:id="rId23"/>
    <p:sldLayoutId id="2147484272" r:id="rId24"/>
    <p:sldLayoutId id="2147484273" r:id="rId25"/>
    <p:sldLayoutId id="2147484274" r:id="rId26"/>
    <p:sldLayoutId id="2147484275" r:id="rId27"/>
    <p:sldLayoutId id="2147484276" r:id="rId28"/>
    <p:sldLayoutId id="2147484277" r:id="rId29"/>
    <p:sldLayoutId id="2147484278" r:id="rId30"/>
    <p:sldLayoutId id="2147484279" r:id="rId31"/>
    <p:sldLayoutId id="2147484280" r:id="rId32"/>
    <p:sldLayoutId id="2147484281" r:id="rId33"/>
    <p:sldLayoutId id="2147484282" r:id="rId34"/>
    <p:sldLayoutId id="2147484283" r:id="rId35"/>
    <p:sldLayoutId id="2147484284" r:id="rId36"/>
    <p:sldLayoutId id="2147484285" r:id="rId37"/>
    <p:sldLayoutId id="2147484286" r:id="rId38"/>
    <p:sldLayoutId id="2147484287" r:id="rId39"/>
    <p:sldLayoutId id="2147484288"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1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notesSlide" Target="../notesSlides/notesSlide7.xml"/><Relationship Id="rId1" Type="http://schemas.openxmlformats.org/officeDocument/2006/relationships/slideLayout" Target="../slideLayouts/slideLayout120.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8.xml"/><Relationship Id="rId1" Type="http://schemas.openxmlformats.org/officeDocument/2006/relationships/slideLayout" Target="../slideLayouts/slideLayout125.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microsoft-365/commerce/subscriptions/self-service-purchase-faq" TargetMode="External"/><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7.xml.rels><?xml version="1.0" encoding="UTF-8" standalone="yes"?>
<Relationships xmlns="http://schemas.openxmlformats.org/package/2006/relationships"><Relationship Id="rId13" Type="http://schemas.openxmlformats.org/officeDocument/2006/relationships/image" Target="../media/image111.jpeg"/><Relationship Id="rId18" Type="http://schemas.openxmlformats.org/officeDocument/2006/relationships/image" Target="../media/image116.jpeg"/><Relationship Id="rId26" Type="http://schemas.openxmlformats.org/officeDocument/2006/relationships/image" Target="../media/image124.png"/><Relationship Id="rId39" Type="http://schemas.openxmlformats.org/officeDocument/2006/relationships/image" Target="../media/image137.jpeg"/><Relationship Id="rId3" Type="http://schemas.openxmlformats.org/officeDocument/2006/relationships/image" Target="../media/image101.jpeg"/><Relationship Id="rId21" Type="http://schemas.openxmlformats.org/officeDocument/2006/relationships/image" Target="../media/image119.png"/><Relationship Id="rId34" Type="http://schemas.openxmlformats.org/officeDocument/2006/relationships/image" Target="../media/image132.jpeg"/><Relationship Id="rId42" Type="http://schemas.openxmlformats.org/officeDocument/2006/relationships/image" Target="../media/image140.png"/><Relationship Id="rId47" Type="http://schemas.openxmlformats.org/officeDocument/2006/relationships/image" Target="../media/image145.jpeg"/><Relationship Id="rId50" Type="http://schemas.openxmlformats.org/officeDocument/2006/relationships/image" Target="../media/image148.jpeg"/><Relationship Id="rId7" Type="http://schemas.openxmlformats.org/officeDocument/2006/relationships/image" Target="../media/image105.jpeg"/><Relationship Id="rId12" Type="http://schemas.openxmlformats.org/officeDocument/2006/relationships/image" Target="../media/image110.jpeg"/><Relationship Id="rId17" Type="http://schemas.openxmlformats.org/officeDocument/2006/relationships/image" Target="../media/image115.jpeg"/><Relationship Id="rId25" Type="http://schemas.openxmlformats.org/officeDocument/2006/relationships/image" Target="../media/image123.jpeg"/><Relationship Id="rId33" Type="http://schemas.openxmlformats.org/officeDocument/2006/relationships/image" Target="../media/image131.jpeg"/><Relationship Id="rId38" Type="http://schemas.openxmlformats.org/officeDocument/2006/relationships/image" Target="../media/image136.jpeg"/><Relationship Id="rId46" Type="http://schemas.openxmlformats.org/officeDocument/2006/relationships/image" Target="../media/image144.jpeg"/><Relationship Id="rId2" Type="http://schemas.openxmlformats.org/officeDocument/2006/relationships/notesSlide" Target="../notesSlides/notesSlide11.xml"/><Relationship Id="rId16" Type="http://schemas.openxmlformats.org/officeDocument/2006/relationships/image" Target="../media/image114.jpeg"/><Relationship Id="rId20" Type="http://schemas.openxmlformats.org/officeDocument/2006/relationships/image" Target="../media/image118.jpeg"/><Relationship Id="rId29" Type="http://schemas.openxmlformats.org/officeDocument/2006/relationships/image" Target="../media/image127.jpeg"/><Relationship Id="rId41" Type="http://schemas.openxmlformats.org/officeDocument/2006/relationships/image" Target="../media/image139.jpeg"/><Relationship Id="rId1" Type="http://schemas.openxmlformats.org/officeDocument/2006/relationships/slideLayout" Target="../slideLayouts/slideLayout130.xml"/><Relationship Id="rId6" Type="http://schemas.openxmlformats.org/officeDocument/2006/relationships/image" Target="../media/image104.jpeg"/><Relationship Id="rId11" Type="http://schemas.openxmlformats.org/officeDocument/2006/relationships/image" Target="../media/image109.jpeg"/><Relationship Id="rId24" Type="http://schemas.openxmlformats.org/officeDocument/2006/relationships/image" Target="../media/image122.jpeg"/><Relationship Id="rId32" Type="http://schemas.openxmlformats.org/officeDocument/2006/relationships/image" Target="../media/image130.jpeg"/><Relationship Id="rId37" Type="http://schemas.openxmlformats.org/officeDocument/2006/relationships/image" Target="../media/image135.jpeg"/><Relationship Id="rId40" Type="http://schemas.openxmlformats.org/officeDocument/2006/relationships/image" Target="../media/image138.jpeg"/><Relationship Id="rId45" Type="http://schemas.openxmlformats.org/officeDocument/2006/relationships/image" Target="../media/image143.jpeg"/><Relationship Id="rId5" Type="http://schemas.openxmlformats.org/officeDocument/2006/relationships/image" Target="../media/image103.jpeg"/><Relationship Id="rId15" Type="http://schemas.openxmlformats.org/officeDocument/2006/relationships/image" Target="../media/image113.jpeg"/><Relationship Id="rId23" Type="http://schemas.openxmlformats.org/officeDocument/2006/relationships/image" Target="../media/image121.png"/><Relationship Id="rId28" Type="http://schemas.openxmlformats.org/officeDocument/2006/relationships/image" Target="../media/image126.jpeg"/><Relationship Id="rId36" Type="http://schemas.openxmlformats.org/officeDocument/2006/relationships/image" Target="../media/image134.jpeg"/><Relationship Id="rId49" Type="http://schemas.openxmlformats.org/officeDocument/2006/relationships/image" Target="../media/image147.jpeg"/><Relationship Id="rId10" Type="http://schemas.openxmlformats.org/officeDocument/2006/relationships/image" Target="../media/image108.jpeg"/><Relationship Id="rId19" Type="http://schemas.openxmlformats.org/officeDocument/2006/relationships/image" Target="../media/image117.jpeg"/><Relationship Id="rId31" Type="http://schemas.openxmlformats.org/officeDocument/2006/relationships/image" Target="../media/image129.jpeg"/><Relationship Id="rId44" Type="http://schemas.openxmlformats.org/officeDocument/2006/relationships/image" Target="../media/image142.jpeg"/><Relationship Id="rId4" Type="http://schemas.openxmlformats.org/officeDocument/2006/relationships/image" Target="../media/image102.jpeg"/><Relationship Id="rId9" Type="http://schemas.openxmlformats.org/officeDocument/2006/relationships/image" Target="../media/image107.jpeg"/><Relationship Id="rId14" Type="http://schemas.openxmlformats.org/officeDocument/2006/relationships/image" Target="../media/image112.jpeg"/><Relationship Id="rId22" Type="http://schemas.openxmlformats.org/officeDocument/2006/relationships/image" Target="../media/image120.jpeg"/><Relationship Id="rId27" Type="http://schemas.openxmlformats.org/officeDocument/2006/relationships/image" Target="../media/image125.jpeg"/><Relationship Id="rId30" Type="http://schemas.openxmlformats.org/officeDocument/2006/relationships/image" Target="../media/image128.jpeg"/><Relationship Id="rId35" Type="http://schemas.openxmlformats.org/officeDocument/2006/relationships/image" Target="../media/image133.jpeg"/><Relationship Id="rId43" Type="http://schemas.openxmlformats.org/officeDocument/2006/relationships/image" Target="../media/image141.jpeg"/><Relationship Id="rId48" Type="http://schemas.openxmlformats.org/officeDocument/2006/relationships/image" Target="../media/image146.png"/><Relationship Id="rId8" Type="http://schemas.openxmlformats.org/officeDocument/2006/relationships/image" Target="../media/image106.jpeg"/></Relationships>
</file>

<file path=ppt/slides/_rels/slide18.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12.xml"/><Relationship Id="rId1" Type="http://schemas.openxmlformats.org/officeDocument/2006/relationships/slideLayout" Target="../slideLayouts/slideLayout125.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125.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svg"/><Relationship Id="rId9" Type="http://schemas.openxmlformats.org/officeDocument/2006/relationships/image" Target="../media/image65.png"/></Relationships>
</file>

<file path=ppt/slides/_rels/slide20.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13.xml"/><Relationship Id="rId1" Type="http://schemas.openxmlformats.org/officeDocument/2006/relationships/slideLayout" Target="../slideLayouts/slideLayout125.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3.png"/><Relationship Id="rId7" Type="http://schemas.openxmlformats.org/officeDocument/2006/relationships/image" Target="../media/image161.png"/><Relationship Id="rId2" Type="http://schemas.openxmlformats.org/officeDocument/2006/relationships/notesSlide" Target="../notesSlides/notesSlide14.xml"/><Relationship Id="rId1" Type="http://schemas.openxmlformats.org/officeDocument/2006/relationships/slideLayout" Target="../slideLayouts/slideLayout125.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5.xml"/><Relationship Id="rId1" Type="http://schemas.openxmlformats.org/officeDocument/2006/relationships/themeOverride" Target="../theme/themeOverride1.xml"/><Relationship Id="rId4" Type="http://schemas.openxmlformats.org/officeDocument/2006/relationships/image" Target="../media/image16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7.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8.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9.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20.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8.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notesSlide" Target="../notesSlides/notesSlide21.xml"/><Relationship Id="rId7" Type="http://schemas.openxmlformats.org/officeDocument/2006/relationships/image" Target="../media/image169.svg"/><Relationship Id="rId2" Type="http://schemas.openxmlformats.org/officeDocument/2006/relationships/slideLayout" Target="../slideLayouts/slideLayout125.xml"/><Relationship Id="rId1" Type="http://schemas.openxmlformats.org/officeDocument/2006/relationships/tags" Target="../tags/tag3.xml"/><Relationship Id="rId6" Type="http://schemas.openxmlformats.org/officeDocument/2006/relationships/image" Target="../media/image168.png"/><Relationship Id="rId5" Type="http://schemas.openxmlformats.org/officeDocument/2006/relationships/image" Target="../media/image167.emf"/><Relationship Id="rId4" Type="http://schemas.openxmlformats.org/officeDocument/2006/relationships/image" Target="../media/image1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22.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31.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75.png"/><Relationship Id="rId2" Type="http://schemas.openxmlformats.org/officeDocument/2006/relationships/image" Target="../media/image171.png"/><Relationship Id="rId1" Type="http://schemas.openxmlformats.org/officeDocument/2006/relationships/slideLayout" Target="../slideLayouts/slideLayout125.xml"/><Relationship Id="rId6" Type="http://schemas.openxmlformats.org/officeDocument/2006/relationships/image" Target="../media/image174.png"/><Relationship Id="rId5" Type="http://schemas.openxmlformats.org/officeDocument/2006/relationships/image" Target="../media/image93.png"/><Relationship Id="rId4" Type="http://schemas.openxmlformats.org/officeDocument/2006/relationships/image" Target="../media/image173.png"/></Relationships>
</file>

<file path=ppt/slides/_rels/slide3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3.xml"/><Relationship Id="rId1" Type="http://schemas.openxmlformats.org/officeDocument/2006/relationships/slideLayout" Target="../slideLayouts/slideLayout130.xml"/><Relationship Id="rId4" Type="http://schemas.openxmlformats.org/officeDocument/2006/relationships/image" Target="../media/image177.png"/></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ypes-of-environments" TargetMode="External"/><Relationship Id="rId2" Type="http://schemas.openxmlformats.org/officeDocument/2006/relationships/notesSlide" Target="../notesSlides/notesSlide24.xml"/><Relationship Id="rId1" Type="http://schemas.openxmlformats.org/officeDocument/2006/relationships/slideLayout" Target="../slideLayouts/slideLayout130.xml"/></Relationships>
</file>

<file path=ppt/slides/_rels/slide34.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he-default-environment" TargetMode="External"/><Relationship Id="rId2" Type="http://schemas.openxmlformats.org/officeDocument/2006/relationships/notesSlide" Target="../notesSlides/notesSlide25.xml"/><Relationship Id="rId1" Type="http://schemas.openxmlformats.org/officeDocument/2006/relationships/slideLayout" Target="../slideLayouts/slideLayout125.xml"/><Relationship Id="rId4" Type="http://schemas.openxmlformats.org/officeDocument/2006/relationships/image" Target="../media/image178.png"/></Relationships>
</file>

<file path=ppt/slides/_rels/slide3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6.xml"/><Relationship Id="rId1" Type="http://schemas.openxmlformats.org/officeDocument/2006/relationships/slideLayout" Target="../slideLayouts/slideLayout125.xml"/><Relationship Id="rId4" Type="http://schemas.openxmlformats.org/officeDocument/2006/relationships/hyperlink" Target="https://docs.microsoft.com/en-us/power-platform/guidance/adoption/environment-strategy"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12" Type="http://schemas.openxmlformats.org/officeDocument/2006/relationships/image" Target="../media/image189.svg"/><Relationship Id="rId2" Type="http://schemas.openxmlformats.org/officeDocument/2006/relationships/notesSlide" Target="../notesSlides/notesSlide27.xml"/><Relationship Id="rId1" Type="http://schemas.openxmlformats.org/officeDocument/2006/relationships/slideLayout" Target="../slideLayouts/slideLayout130.xml"/><Relationship Id="rId6" Type="http://schemas.openxmlformats.org/officeDocument/2006/relationships/image" Target="../media/image183.svg"/><Relationship Id="rId11" Type="http://schemas.openxmlformats.org/officeDocument/2006/relationships/image" Target="../media/image188.png"/><Relationship Id="rId5" Type="http://schemas.openxmlformats.org/officeDocument/2006/relationships/image" Target="../media/image182.png"/><Relationship Id="rId10" Type="http://schemas.openxmlformats.org/officeDocument/2006/relationships/image" Target="../media/image187.svg"/><Relationship Id="rId4" Type="http://schemas.openxmlformats.org/officeDocument/2006/relationships/image" Target="../media/image181.png"/><Relationship Id="rId9" Type="http://schemas.openxmlformats.org/officeDocument/2006/relationships/image" Target="../media/image186.png"/></Relationships>
</file>

<file path=ppt/slides/_rels/slide37.xml.rels><?xml version="1.0" encoding="UTF-8" standalone="yes"?>
<Relationships xmlns="http://schemas.openxmlformats.org/package/2006/relationships"><Relationship Id="rId8" Type="http://schemas.openxmlformats.org/officeDocument/2006/relationships/image" Target="../media/image194.svg"/><Relationship Id="rId3" Type="http://schemas.openxmlformats.org/officeDocument/2006/relationships/image" Target="../media/image180.png"/><Relationship Id="rId7" Type="http://schemas.openxmlformats.org/officeDocument/2006/relationships/image" Target="../media/image193.png"/><Relationship Id="rId2" Type="http://schemas.openxmlformats.org/officeDocument/2006/relationships/notesSlide" Target="../notesSlides/notesSlide28.xml"/><Relationship Id="rId1" Type="http://schemas.openxmlformats.org/officeDocument/2006/relationships/slideLayout" Target="../slideLayouts/slideLayout130.xml"/><Relationship Id="rId6" Type="http://schemas.openxmlformats.org/officeDocument/2006/relationships/image" Target="../media/image192.svg"/><Relationship Id="rId5" Type="http://schemas.openxmlformats.org/officeDocument/2006/relationships/image" Target="../media/image191.png"/><Relationship Id="rId10" Type="http://schemas.openxmlformats.org/officeDocument/2006/relationships/image" Target="../media/image196.svg"/><Relationship Id="rId4" Type="http://schemas.openxmlformats.org/officeDocument/2006/relationships/image" Target="../media/image190.png"/><Relationship Id="rId9" Type="http://schemas.openxmlformats.org/officeDocument/2006/relationships/image" Target="../media/image195.png"/></Relationships>
</file>

<file path=ppt/slides/_rels/slide38.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7.png"/><Relationship Id="rId7" Type="http://schemas.openxmlformats.org/officeDocument/2006/relationships/image" Target="../media/image201.svg"/><Relationship Id="rId2" Type="http://schemas.openxmlformats.org/officeDocument/2006/relationships/notesSlide" Target="../notesSlides/notesSlide29.xml"/><Relationship Id="rId1" Type="http://schemas.openxmlformats.org/officeDocument/2006/relationships/slideLayout" Target="../slideLayouts/slideLayout130.xml"/><Relationship Id="rId6" Type="http://schemas.openxmlformats.org/officeDocument/2006/relationships/image" Target="../media/image200.png"/><Relationship Id="rId5" Type="http://schemas.openxmlformats.org/officeDocument/2006/relationships/image" Target="../media/image199.svg"/><Relationship Id="rId4" Type="http://schemas.openxmlformats.org/officeDocument/2006/relationships/image" Target="../media/image198.png"/><Relationship Id="rId9" Type="http://schemas.openxmlformats.org/officeDocument/2006/relationships/image" Target="../media/image203.svg"/></Relationships>
</file>

<file path=ppt/slides/_rels/slide39.xml.rels><?xml version="1.0" encoding="UTF-8" standalone="yes"?>
<Relationships xmlns="http://schemas.openxmlformats.org/package/2006/relationships"><Relationship Id="rId8" Type="http://schemas.openxmlformats.org/officeDocument/2006/relationships/image" Target="../media/image206.svg"/><Relationship Id="rId3" Type="http://schemas.openxmlformats.org/officeDocument/2006/relationships/image" Target="../media/image180.png"/><Relationship Id="rId7" Type="http://schemas.openxmlformats.org/officeDocument/2006/relationships/image" Target="../media/image205.png"/><Relationship Id="rId12" Type="http://schemas.openxmlformats.org/officeDocument/2006/relationships/image" Target="../media/image208.svg"/><Relationship Id="rId2" Type="http://schemas.openxmlformats.org/officeDocument/2006/relationships/notesSlide" Target="../notesSlides/notesSlide30.xml"/><Relationship Id="rId1" Type="http://schemas.openxmlformats.org/officeDocument/2006/relationships/slideLayout" Target="../slideLayouts/slideLayout130.xml"/><Relationship Id="rId6" Type="http://schemas.openxmlformats.org/officeDocument/2006/relationships/image" Target="../media/image204.png"/><Relationship Id="rId11" Type="http://schemas.openxmlformats.org/officeDocument/2006/relationships/image" Target="../media/image207.png"/><Relationship Id="rId5" Type="http://schemas.openxmlformats.org/officeDocument/2006/relationships/image" Target="../media/image185.svg"/><Relationship Id="rId10" Type="http://schemas.openxmlformats.org/officeDocument/2006/relationships/image" Target="../media/image196.svg"/><Relationship Id="rId4" Type="http://schemas.openxmlformats.org/officeDocument/2006/relationships/image" Target="../media/image184.png"/><Relationship Id="rId9" Type="http://schemas.openxmlformats.org/officeDocument/2006/relationships/image" Target="../media/image19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5.xml"/></Relationships>
</file>

<file path=ppt/slides/_rels/slide4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31.xml"/><Relationship Id="rId1" Type="http://schemas.openxmlformats.org/officeDocument/2006/relationships/slideLayout" Target="../slideLayouts/slideLayout125.xml"/><Relationship Id="rId4" Type="http://schemas.openxmlformats.org/officeDocument/2006/relationships/image" Target="../media/image210.sv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38.xml"/><Relationship Id="rId1" Type="http://schemas.openxmlformats.org/officeDocument/2006/relationships/tags" Target="../tags/tag4.xml"/><Relationship Id="rId5" Type="http://schemas.openxmlformats.org/officeDocument/2006/relationships/image" Target="../media/image212.png"/><Relationship Id="rId4" Type="http://schemas.openxmlformats.org/officeDocument/2006/relationships/image" Target="../media/image21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5.xml"/></Relationships>
</file>

<file path=ppt/slides/_rels/slide4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34.xml"/><Relationship Id="rId1" Type="http://schemas.openxmlformats.org/officeDocument/2006/relationships/slideLayout" Target="../slideLayouts/slideLayout125.xml"/><Relationship Id="rId4" Type="http://schemas.openxmlformats.org/officeDocument/2006/relationships/image" Target="../media/image214.svg"/></Relationships>
</file>

<file path=ppt/slides/_rels/slide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5.xml"/><Relationship Id="rId1" Type="http://schemas.openxmlformats.org/officeDocument/2006/relationships/slideLayout" Target="../slideLayouts/slideLayout125.xml"/><Relationship Id="rId4" Type="http://schemas.openxmlformats.org/officeDocument/2006/relationships/image" Target="../media/image215.png"/></Relationships>
</file>

<file path=ppt/slides/_rels/slide4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6.xml"/><Relationship Id="rId1" Type="http://schemas.openxmlformats.org/officeDocument/2006/relationships/slideLayout" Target="../slideLayouts/slideLayout125.xml"/><Relationship Id="rId4" Type="http://schemas.openxmlformats.org/officeDocument/2006/relationships/image" Target="../media/image21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47.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37.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4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38.xml"/><Relationship Id="rId1" Type="http://schemas.openxmlformats.org/officeDocument/2006/relationships/slideLayout" Target="../slideLayouts/slideLayout125.xml"/><Relationship Id="rId5" Type="http://schemas.openxmlformats.org/officeDocument/2006/relationships/image" Target="../media/image219.png"/><Relationship Id="rId4" Type="http://schemas.openxmlformats.org/officeDocument/2006/relationships/image" Target="../media/image218.png"/></Relationships>
</file>

<file path=ppt/slides/_rels/slide49.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9.xml"/><Relationship Id="rId1" Type="http://schemas.openxmlformats.org/officeDocument/2006/relationships/slideLayout" Target="../slideLayouts/slideLayout125.xml"/></Relationships>
</file>

<file path=ppt/slides/_rels/slide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emf"/><Relationship Id="rId1" Type="http://schemas.openxmlformats.org/officeDocument/2006/relationships/slideLayout" Target="../slideLayouts/slideLayout1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1.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40.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52.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41.xml"/><Relationship Id="rId1" Type="http://schemas.openxmlformats.org/officeDocument/2006/relationships/slideLayout" Target="../slideLayouts/slideLayout145.xml"/></Relationships>
</file>

<file path=ppt/slides/_rels/slide53.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224.png"/><Relationship Id="rId2" Type="http://schemas.openxmlformats.org/officeDocument/2006/relationships/notesSlide" Target="../notesSlides/notesSlide42.xml"/><Relationship Id="rId1" Type="http://schemas.openxmlformats.org/officeDocument/2006/relationships/slideLayout" Target="../slideLayouts/slideLayout125.xml"/><Relationship Id="rId6" Type="http://schemas.openxmlformats.org/officeDocument/2006/relationships/image" Target="../media/image223.svg"/><Relationship Id="rId5" Type="http://schemas.openxmlformats.org/officeDocument/2006/relationships/image" Target="../media/image222.png"/><Relationship Id="rId4" Type="http://schemas.openxmlformats.org/officeDocument/2006/relationships/image" Target="../media/image167.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4.xml"/></Relationships>
</file>

<file path=ppt/slides/_rels/slide5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44.xml"/><Relationship Id="rId1" Type="http://schemas.openxmlformats.org/officeDocument/2006/relationships/slideLayout" Target="../slideLayouts/slideLayout134.xml"/><Relationship Id="rId4" Type="http://schemas.openxmlformats.org/officeDocument/2006/relationships/image" Target="../media/image226.svg"/></Relationships>
</file>

<file path=ppt/slides/_rels/slide56.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237.png"/><Relationship Id="rId18" Type="http://schemas.openxmlformats.org/officeDocument/2006/relationships/image" Target="../media/image242.png"/><Relationship Id="rId26" Type="http://schemas.openxmlformats.org/officeDocument/2006/relationships/image" Target="../media/image250.png"/><Relationship Id="rId3" Type="http://schemas.openxmlformats.org/officeDocument/2006/relationships/image" Target="../media/image227.png"/><Relationship Id="rId21" Type="http://schemas.openxmlformats.org/officeDocument/2006/relationships/image" Target="../media/image245.png"/><Relationship Id="rId7" Type="http://schemas.openxmlformats.org/officeDocument/2006/relationships/image" Target="../media/image231.png"/><Relationship Id="rId12" Type="http://schemas.openxmlformats.org/officeDocument/2006/relationships/image" Target="../media/image236.png"/><Relationship Id="rId17" Type="http://schemas.openxmlformats.org/officeDocument/2006/relationships/image" Target="../media/image241.png"/><Relationship Id="rId25" Type="http://schemas.openxmlformats.org/officeDocument/2006/relationships/image" Target="../media/image249.png"/><Relationship Id="rId2" Type="http://schemas.openxmlformats.org/officeDocument/2006/relationships/notesSlide" Target="../notesSlides/notesSlide45.xml"/><Relationship Id="rId16" Type="http://schemas.openxmlformats.org/officeDocument/2006/relationships/image" Target="../media/image240.png"/><Relationship Id="rId20" Type="http://schemas.openxmlformats.org/officeDocument/2006/relationships/image" Target="../media/image244.png"/><Relationship Id="rId29" Type="http://schemas.openxmlformats.org/officeDocument/2006/relationships/image" Target="../media/image253.png"/><Relationship Id="rId1" Type="http://schemas.openxmlformats.org/officeDocument/2006/relationships/slideLayout" Target="../slideLayouts/slideLayout134.xml"/><Relationship Id="rId6" Type="http://schemas.openxmlformats.org/officeDocument/2006/relationships/image" Target="../media/image230.png"/><Relationship Id="rId11" Type="http://schemas.openxmlformats.org/officeDocument/2006/relationships/image" Target="../media/image235.png"/><Relationship Id="rId24" Type="http://schemas.openxmlformats.org/officeDocument/2006/relationships/image" Target="../media/image248.png"/><Relationship Id="rId5" Type="http://schemas.openxmlformats.org/officeDocument/2006/relationships/image" Target="../media/image229.png"/><Relationship Id="rId15" Type="http://schemas.openxmlformats.org/officeDocument/2006/relationships/image" Target="../media/image239.png"/><Relationship Id="rId23" Type="http://schemas.openxmlformats.org/officeDocument/2006/relationships/image" Target="../media/image247.png"/><Relationship Id="rId28" Type="http://schemas.openxmlformats.org/officeDocument/2006/relationships/image" Target="../media/image252.png"/><Relationship Id="rId10" Type="http://schemas.openxmlformats.org/officeDocument/2006/relationships/image" Target="../media/image234.png"/><Relationship Id="rId19" Type="http://schemas.openxmlformats.org/officeDocument/2006/relationships/image" Target="../media/image243.png"/><Relationship Id="rId4" Type="http://schemas.openxmlformats.org/officeDocument/2006/relationships/image" Target="../media/image228.png"/><Relationship Id="rId9" Type="http://schemas.openxmlformats.org/officeDocument/2006/relationships/image" Target="../media/image233.png"/><Relationship Id="rId14" Type="http://schemas.openxmlformats.org/officeDocument/2006/relationships/image" Target="../media/image238.png"/><Relationship Id="rId22" Type="http://schemas.openxmlformats.org/officeDocument/2006/relationships/image" Target="../media/image246.png"/><Relationship Id="rId27" Type="http://schemas.openxmlformats.org/officeDocument/2006/relationships/image" Target="../media/image251.png"/></Relationships>
</file>

<file path=ppt/slides/_rels/slide57.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46.xml"/><Relationship Id="rId1" Type="http://schemas.openxmlformats.org/officeDocument/2006/relationships/slideLayout" Target="../slideLayouts/slideLayout130.xml"/></Relationships>
</file>

<file path=ppt/slides/_rels/slide5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47.xml"/><Relationship Id="rId1" Type="http://schemas.openxmlformats.org/officeDocument/2006/relationships/slideLayout" Target="../slideLayouts/slideLayout134.xml"/><Relationship Id="rId6" Type="http://schemas.openxmlformats.org/officeDocument/2006/relationships/image" Target="../media/image258.png"/><Relationship Id="rId5" Type="http://schemas.openxmlformats.org/officeDocument/2006/relationships/image" Target="../media/image257.png"/><Relationship Id="rId4" Type="http://schemas.openxmlformats.org/officeDocument/2006/relationships/image" Target="../media/image256.png"/></Relationships>
</file>

<file path=ppt/slides/_rels/slide59.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8.xml"/><Relationship Id="rId1" Type="http://schemas.openxmlformats.org/officeDocument/2006/relationships/slideLayout" Target="../slideLayouts/slideLayout130.xml"/><Relationship Id="rId5" Type="http://schemas.openxmlformats.org/officeDocument/2006/relationships/image" Target="../media/image261.png"/><Relationship Id="rId4" Type="http://schemas.openxmlformats.org/officeDocument/2006/relationships/image" Target="../media/image260.png"/></Relationships>
</file>

<file path=ppt/slides/_rels/slide6.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60.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49.xml"/><Relationship Id="rId1" Type="http://schemas.openxmlformats.org/officeDocument/2006/relationships/slideLayout" Target="../slideLayouts/slideLayout13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63.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51.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5.xml"/></Relationships>
</file>

<file path=ppt/slides/_rels/slide65.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notesSlide" Target="../notesSlides/notesSlide53.xml"/><Relationship Id="rId1" Type="http://schemas.openxmlformats.org/officeDocument/2006/relationships/slideLayout" Target="../slideLayouts/slideLayout135.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66.xml.rels><?xml version="1.0" encoding="UTF-8" standalone="yes"?>
<Relationships xmlns="http://schemas.openxmlformats.org/package/2006/relationships"><Relationship Id="rId2" Type="http://schemas.openxmlformats.org/officeDocument/2006/relationships/image" Target="../media/image268.png"/><Relationship Id="rId1" Type="http://schemas.openxmlformats.org/officeDocument/2006/relationships/slideLayout" Target="../slideLayouts/slideLayout13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68.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54.xml"/><Relationship Id="rId1" Type="http://schemas.openxmlformats.org/officeDocument/2006/relationships/slideLayout" Target="../slideLayouts/slideLayout125.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69.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55.xml"/><Relationship Id="rId1" Type="http://schemas.openxmlformats.org/officeDocument/2006/relationships/slideLayout" Target="../slideLayouts/slideLayout130.xml"/><Relationship Id="rId5" Type="http://schemas.openxmlformats.org/officeDocument/2006/relationships/image" Target="../media/image271.svg"/><Relationship Id="rId4" Type="http://schemas.openxmlformats.org/officeDocument/2006/relationships/image" Target="../media/image270.png"/></Relationships>
</file>

<file path=ppt/slides/_rels/slide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125.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70.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275.png"/><Relationship Id="rId2" Type="http://schemas.openxmlformats.org/officeDocument/2006/relationships/notesSlide" Target="../notesSlides/notesSlide56.xml"/><Relationship Id="rId1" Type="http://schemas.openxmlformats.org/officeDocument/2006/relationships/slideLayout" Target="../slideLayouts/slideLayout125.xml"/><Relationship Id="rId6" Type="http://schemas.openxmlformats.org/officeDocument/2006/relationships/image" Target="../media/image274.png"/><Relationship Id="rId5" Type="http://schemas.openxmlformats.org/officeDocument/2006/relationships/image" Target="../media/image273.png"/><Relationship Id="rId4" Type="http://schemas.openxmlformats.org/officeDocument/2006/relationships/hyperlink" Target="https://docs.microsoft.com/en-us/power-platform/admin/onpremises-data-gateway-management#manage-installer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80.png"/><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5FE3F-13A9-4EC5-9B1A-0134061B264F}"/>
              </a:ext>
            </a:extLst>
          </p:cNvPr>
          <p:cNvSpPr>
            <a:spLocks noGrp="1"/>
          </p:cNvSpPr>
          <p:nvPr>
            <p:ph type="title"/>
          </p:nvPr>
        </p:nvSpPr>
        <p:spPr>
          <a:xfrm>
            <a:off x="323528" y="1495769"/>
            <a:ext cx="3448372" cy="553998"/>
          </a:xfrm>
        </p:spPr>
        <p:txBody>
          <a:bodyPr/>
          <a:lstStyle/>
          <a:p>
            <a:pPr algn="ctr"/>
            <a:r>
              <a:rPr lang="en-US" sz="4000" dirty="0"/>
              <a:t>Admin Overview</a:t>
            </a:r>
          </a:p>
        </p:txBody>
      </p:sp>
      <p:sp>
        <p:nvSpPr>
          <p:cNvPr id="4" name="Title 1">
            <a:extLst>
              <a:ext uri="{FF2B5EF4-FFF2-40B4-BE49-F238E27FC236}">
                <a16:creationId xmlns:a16="http://schemas.microsoft.com/office/drawing/2014/main" id="{23496577-506A-4E64-B5E4-DF84C9556182}"/>
              </a:ext>
            </a:extLst>
          </p:cNvPr>
          <p:cNvSpPr txBox="1">
            <a:spLocks/>
          </p:cNvSpPr>
          <p:nvPr/>
        </p:nvSpPr>
        <p:spPr>
          <a:xfrm>
            <a:off x="378790" y="2041211"/>
            <a:ext cx="3337848" cy="9694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100" dirty="0"/>
              <a:t>Microsoft Power Apps and Power Automate</a:t>
            </a:r>
          </a:p>
          <a:p>
            <a:endParaRPr lang="en-US" sz="2100" dirty="0"/>
          </a:p>
        </p:txBody>
      </p:sp>
      <p:sp>
        <p:nvSpPr>
          <p:cNvPr id="3" name="TextBox 2">
            <a:extLst>
              <a:ext uri="{FF2B5EF4-FFF2-40B4-BE49-F238E27FC236}">
                <a16:creationId xmlns:a16="http://schemas.microsoft.com/office/drawing/2014/main" id="{9393FB1E-1167-4FE5-9DC6-A89DB96E9E27}"/>
              </a:ext>
            </a:extLst>
          </p:cNvPr>
          <p:cNvSpPr txBox="1"/>
          <p:nvPr/>
        </p:nvSpPr>
        <p:spPr>
          <a:xfrm>
            <a:off x="423022" y="3361599"/>
            <a:ext cx="1252331" cy="1477328"/>
          </a:xfrm>
          <a:prstGeom prst="rect">
            <a:avLst/>
          </a:prstGeom>
          <a:noFill/>
        </p:spPr>
        <p:txBody>
          <a:bodyPr wrap="none" lIns="0" tIns="0" rIns="0" bIns="0" rtlCol="0">
            <a:spAutoFit/>
          </a:bodyPr>
          <a:lstStyle/>
          <a:p>
            <a:pPr algn="ctr"/>
            <a:r>
              <a:rPr lang="en-US" sz="3200" dirty="0">
                <a:gradFill>
                  <a:gsLst>
                    <a:gs pos="0">
                      <a:schemeClr val="tx1"/>
                    </a:gs>
                    <a:gs pos="86000">
                      <a:schemeClr val="tx1"/>
                    </a:gs>
                  </a:gsLst>
                  <a:lin ang="5400000" scaled="0"/>
                </a:gradFill>
              </a:rPr>
              <a:t>Govern</a:t>
            </a:r>
          </a:p>
          <a:p>
            <a:pPr algn="ctr"/>
            <a:r>
              <a:rPr lang="en-US" sz="3200" dirty="0">
                <a:gradFill>
                  <a:gsLst>
                    <a:gs pos="0">
                      <a:schemeClr val="tx1"/>
                    </a:gs>
                    <a:gs pos="86000">
                      <a:schemeClr val="tx1"/>
                    </a:gs>
                  </a:gsLst>
                  <a:lin ang="5400000" scaled="0"/>
                </a:gradFill>
              </a:rPr>
              <a:t>&amp; </a:t>
            </a:r>
          </a:p>
          <a:p>
            <a:pPr algn="ctr"/>
            <a:r>
              <a:rPr lang="en-US" sz="3200" dirty="0">
                <a:gradFill>
                  <a:gsLst>
                    <a:gs pos="0">
                      <a:schemeClr val="tx1"/>
                    </a:gs>
                    <a:gs pos="86000">
                      <a:schemeClr val="tx1"/>
                    </a:gs>
                  </a:gsLst>
                  <a:lin ang="5400000" scaled="0"/>
                </a:gradFill>
              </a:rPr>
              <a:t>Grow</a:t>
            </a:r>
          </a:p>
        </p:txBody>
      </p:sp>
      <p:graphicFrame>
        <p:nvGraphicFramePr>
          <p:cNvPr id="5" name="Diagram 4" descr="1. Secure&#10;2. Monitor&#10;3. Alert and Action&#10;4. Deploy">
            <a:extLst>
              <a:ext uri="{FF2B5EF4-FFF2-40B4-BE49-F238E27FC236}">
                <a16:creationId xmlns:a16="http://schemas.microsoft.com/office/drawing/2014/main" id="{BCD4917B-E5C3-4C80-8059-F9B4097CFA7E}"/>
              </a:ext>
            </a:extLst>
          </p:cNvPr>
          <p:cNvGraphicFramePr/>
          <p:nvPr>
            <p:extLst>
              <p:ext uri="{D42A27DB-BD31-4B8C-83A1-F6EECF244321}">
                <p14:modId xmlns:p14="http://schemas.microsoft.com/office/powerpoint/2010/main" val="1402097774"/>
              </p:ext>
            </p:extLst>
          </p:nvPr>
        </p:nvGraphicFramePr>
        <p:xfrm>
          <a:off x="1740785" y="3402723"/>
          <a:ext cx="7067661" cy="501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descr="5. Nurture&#10;6. Infrastructure&#10;7. Support&#10;">
            <a:extLst>
              <a:ext uri="{FF2B5EF4-FFF2-40B4-BE49-F238E27FC236}">
                <a16:creationId xmlns:a16="http://schemas.microsoft.com/office/drawing/2014/main" id="{53FBBA93-4541-40BE-8404-F9E7D0389E1A}"/>
              </a:ext>
            </a:extLst>
          </p:cNvPr>
          <p:cNvGraphicFramePr/>
          <p:nvPr>
            <p:extLst>
              <p:ext uri="{D42A27DB-BD31-4B8C-83A1-F6EECF244321}">
                <p14:modId xmlns:p14="http://schemas.microsoft.com/office/powerpoint/2010/main" val="2563766549"/>
              </p:ext>
            </p:extLst>
          </p:nvPr>
        </p:nvGraphicFramePr>
        <p:xfrm>
          <a:off x="1733252" y="4380231"/>
          <a:ext cx="5386095" cy="501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833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dirty="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1222979069"/>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025577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extLst>
              <p:ext uri="{D42A27DB-BD31-4B8C-83A1-F6EECF244321}">
                <p14:modId xmlns:p14="http://schemas.microsoft.com/office/powerpoint/2010/main" val="3933517642"/>
              </p:ext>
            </p:extLst>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282198072"/>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349198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87C52BE-D59F-4801-8B81-102B3B424DB5}"/>
              </a:ext>
            </a:extLst>
          </p:cNvPr>
          <p:cNvSpPr txBox="1">
            <a:spLocks noGrp="1"/>
          </p:cNvSpPr>
          <p:nvPr>
            <p:ph type="title"/>
          </p:nvPr>
        </p:nvSpPr>
        <p:spPr>
          <a:xfrm>
            <a:off x="503142" y="216100"/>
            <a:ext cx="8192539" cy="568436"/>
          </a:xfrm>
          <a:prstGeom prst="rect">
            <a:avLst/>
          </a:prstGeom>
          <a:noFill/>
          <a:ln>
            <a:noFill/>
            <a:prstDash/>
          </a:ln>
          <a:effectLst/>
        </p:spPr>
        <p:txBody>
          <a:bodyPr rot="0" spcFirstLastPara="0" vertOverflow="overflow" horzOverflow="overflow" vert="horz" wrap="square" lIns="0" tIns="121017" rIns="0" bIns="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ctr" defTabSz="685775"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150" normalizeH="0" baseline="0" noProof="0" dirty="0">
                <a:ln w="3175">
                  <a:noFill/>
                </a:ln>
                <a:solidFill>
                  <a:srgbClr val="000000"/>
                </a:solidFill>
                <a:effectLst/>
                <a:uLnTx/>
                <a:uFillTx/>
                <a:latin typeface="+mj-lt"/>
                <a:ea typeface="+mn-ea"/>
                <a:cs typeface="Segoe UI" pitchFamily="34" charset="0"/>
              </a:rPr>
              <a:t>Who is building solutions with Power Platform?</a:t>
            </a:r>
            <a:endParaRPr kumimoji="0" lang="en-US" sz="2353" b="0" i="0" u="none" strike="noStrike" kern="1200" cap="none" spc="-110" normalizeH="0" baseline="0" noProof="0" dirty="0">
              <a:ln w="3175">
                <a:noFill/>
              </a:ln>
              <a:solidFill>
                <a:srgbClr val="000000"/>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A982458F-F395-4C7F-87C4-E883FE08C0C3}"/>
              </a:ext>
            </a:extLst>
          </p:cNvPr>
          <p:cNvSpPr txBox="1">
            <a:spLocks/>
          </p:cNvSpPr>
          <p:nvPr/>
        </p:nvSpPr>
        <p:spPr>
          <a:xfrm>
            <a:off x="503141" y="694963"/>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defRPr/>
            </a:pPr>
            <a:r>
              <a:rPr lang="en-US" sz="1471" dirty="0">
                <a:latin typeface="Segoe UI Light" panose="020B0502040204020203" pitchFamily="34" charset="0"/>
                <a:cs typeface="Segoe UI Light" panose="020B0502040204020203" pitchFamily="34" charset="0"/>
              </a:rPr>
              <a:t>Less code. More Power. Faster Innovation.  </a:t>
            </a:r>
          </a:p>
        </p:txBody>
      </p:sp>
      <p:sp>
        <p:nvSpPr>
          <p:cNvPr id="21" name="Rectangle 20" descr="Business Driven vs IT Driven">
            <a:extLst>
              <a:ext uri="{FF2B5EF4-FFF2-40B4-BE49-F238E27FC236}">
                <a16:creationId xmlns:a16="http://schemas.microsoft.com/office/drawing/2014/main" id="{39A19E80-6285-4533-A012-0FE907726CAC}"/>
              </a:ext>
            </a:extLst>
          </p:cNvPr>
          <p:cNvSpPr/>
          <p:nvPr/>
        </p:nvSpPr>
        <p:spPr bwMode="auto">
          <a:xfrm>
            <a:off x="1" y="1211784"/>
            <a:ext cx="9144000" cy="1208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170407" indent="-85204" defTabSz="685537">
              <a:spcAft>
                <a:spcPts val="294"/>
              </a:spcAft>
              <a:buFont typeface="Arial" panose="020B0604020202020204" pitchFamily="34" charset="0"/>
              <a:buChar char="•"/>
              <a:tabLst>
                <a:tab pos="42018" algn="l"/>
              </a:tabLst>
              <a:defRPr/>
            </a:pPr>
            <a:endParaRPr lang="en-US" sz="1324" dirty="0">
              <a:solidFill>
                <a:srgbClr val="282828"/>
              </a:solidFill>
              <a:latin typeface="Segoe UI Light" panose="020B0502040204020203" pitchFamily="34" charset="0"/>
              <a:cs typeface="Segoe UI Light" panose="020B0502040204020203" pitchFamily="34" charset="0"/>
            </a:endParaRPr>
          </a:p>
        </p:txBody>
      </p:sp>
      <p:cxnSp>
        <p:nvCxnSpPr>
          <p:cNvPr id="11" name="Straight Connector 10">
            <a:extLst>
              <a:ext uri="{FF2B5EF4-FFF2-40B4-BE49-F238E27FC236}">
                <a16:creationId xmlns:a16="http://schemas.microsoft.com/office/drawing/2014/main" id="{D189646A-C09B-49A4-90D9-394D30351335}"/>
              </a:ext>
              <a:ext uri="{C183D7F6-B498-43B3-948B-1728B52AA6E4}">
                <adec:decorative xmlns:adec="http://schemas.microsoft.com/office/drawing/2017/decorative" val="1"/>
              </a:ext>
            </a:extLst>
          </p:cNvPr>
          <p:cNvCxnSpPr>
            <a:cxnSpLocks/>
          </p:cNvCxnSpPr>
          <p:nvPr/>
        </p:nvCxnSpPr>
        <p:spPr>
          <a:xfrm>
            <a:off x="-67910" y="1308659"/>
            <a:ext cx="9211911" cy="0"/>
          </a:xfrm>
          <a:prstGeom prst="line">
            <a:avLst/>
          </a:prstGeom>
          <a:ln>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B9D02B28-377E-3B4A-B3F2-94F3ACB99C84}"/>
              </a:ext>
            </a:extLst>
          </p:cNvPr>
          <p:cNvSpPr txBox="1">
            <a:spLocks/>
          </p:cNvSpPr>
          <p:nvPr/>
        </p:nvSpPr>
        <p:spPr>
          <a:xfrm>
            <a:off x="782300" y="2193815"/>
            <a:ext cx="2835000" cy="1884618"/>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Business driven</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Lower barrier of entry for app development</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Power users in business units close to the problem building solutions for their teams</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Often with IT oversight or in an approved sandbox</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  </a:t>
            </a:r>
          </a:p>
        </p:txBody>
      </p:sp>
      <p:pic>
        <p:nvPicPr>
          <p:cNvPr id="25" name="Picture 25" descr="PowerApps Champ Lauren Taylor - Photo">
            <a:extLst>
              <a:ext uri="{FF2B5EF4-FFF2-40B4-BE49-F238E27FC236}">
                <a16:creationId xmlns:a16="http://schemas.microsoft.com/office/drawing/2014/main" id="{D3C6EB65-5F9A-4A4E-BD6D-C912577EF1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876"/>
          <a:stretch/>
        </p:blipFill>
        <p:spPr>
          <a:xfrm>
            <a:off x="795135" y="1405535"/>
            <a:ext cx="540001" cy="756000"/>
          </a:xfrm>
          <a:prstGeom prst="rect">
            <a:avLst/>
          </a:prstGeom>
        </p:spPr>
      </p:pic>
      <p:pic>
        <p:nvPicPr>
          <p:cNvPr id="23" name="Picture 23" descr="PowerApps Champ Nick Gill - Photo">
            <a:extLst>
              <a:ext uri="{FF2B5EF4-FFF2-40B4-BE49-F238E27FC236}">
                <a16:creationId xmlns:a16="http://schemas.microsoft.com/office/drawing/2014/main" id="{97B0E015-CF5E-42D3-82B6-326D51C44D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03046" y="1405535"/>
            <a:ext cx="539169" cy="756000"/>
          </a:xfrm>
          <a:prstGeom prst="rect">
            <a:avLst/>
          </a:prstGeom>
        </p:spPr>
      </p:pic>
      <p:pic>
        <p:nvPicPr>
          <p:cNvPr id="24" name="Picture 24" descr="PowerApps Champ Martin Lee - Photo">
            <a:extLst>
              <a:ext uri="{FF2B5EF4-FFF2-40B4-BE49-F238E27FC236}">
                <a16:creationId xmlns:a16="http://schemas.microsoft.com/office/drawing/2014/main" id="{85360083-FCF6-402F-BE5D-4208A9DF9CC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11775" y="1406386"/>
            <a:ext cx="539169" cy="756000"/>
          </a:xfrm>
          <a:prstGeom prst="rect">
            <a:avLst/>
          </a:prstGeom>
        </p:spPr>
      </p:pic>
      <p:pic>
        <p:nvPicPr>
          <p:cNvPr id="17" name="Picture 22" descr="PowerApps Champ Samit Sani - Photo">
            <a:extLst>
              <a:ext uri="{FF2B5EF4-FFF2-40B4-BE49-F238E27FC236}">
                <a16:creationId xmlns:a16="http://schemas.microsoft.com/office/drawing/2014/main" id="{47E89E84-55E3-4246-956B-01C8880338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18855" y="1405535"/>
            <a:ext cx="539169" cy="756000"/>
          </a:xfrm>
          <a:prstGeom prst="rect">
            <a:avLst/>
          </a:prstGeom>
        </p:spPr>
      </p:pic>
      <p:pic>
        <p:nvPicPr>
          <p:cNvPr id="26" name="Picture 26" descr="PowerApps Champ Alan Chai - Photo">
            <a:extLst>
              <a:ext uri="{FF2B5EF4-FFF2-40B4-BE49-F238E27FC236}">
                <a16:creationId xmlns:a16="http://schemas.microsoft.com/office/drawing/2014/main" id="{C2D3AE01-6342-4D08-A36C-8B8BF69251C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396" t="-4" r="1227"/>
          <a:stretch/>
        </p:blipFill>
        <p:spPr>
          <a:xfrm>
            <a:off x="3225935" y="1405535"/>
            <a:ext cx="540264" cy="756000"/>
          </a:xfrm>
          <a:prstGeom prst="rect">
            <a:avLst/>
          </a:prstGeom>
        </p:spPr>
      </p:pic>
      <p:sp>
        <p:nvSpPr>
          <p:cNvPr id="20" name="Text Placeholder 6">
            <a:extLst>
              <a:ext uri="{FF2B5EF4-FFF2-40B4-BE49-F238E27FC236}">
                <a16:creationId xmlns:a16="http://schemas.microsoft.com/office/drawing/2014/main" id="{0191C346-0915-0549-B2DC-1630E29782A8}"/>
              </a:ext>
            </a:extLst>
          </p:cNvPr>
          <p:cNvSpPr txBox="1">
            <a:spLocks/>
          </p:cNvSpPr>
          <p:nvPr/>
        </p:nvSpPr>
        <p:spPr>
          <a:xfrm>
            <a:off x="5526700" y="2191303"/>
            <a:ext cx="2835000" cy="1181093"/>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IT driven</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Enables high productivity app development</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Reduces time to develop and deploy</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Centrally managed and rolled out</a:t>
            </a:r>
          </a:p>
          <a:p>
            <a:pPr algn="l" defTabSz="685775">
              <a:spcAft>
                <a:spcPts val="882"/>
              </a:spcAft>
              <a:defRPr/>
            </a:pPr>
            <a:endParaRPr lang="en-US" sz="1176" b="1" dirty="0">
              <a:solidFill>
                <a:srgbClr val="742673"/>
              </a:solidFill>
              <a:latin typeface="Segoe UI Semibold" panose="020B0502040204020203" pitchFamily="34" charset="0"/>
              <a:cs typeface="Segoe UI Semibold" panose="020B0502040204020203" pitchFamily="34" charset="0"/>
            </a:endParaRPr>
          </a:p>
        </p:txBody>
      </p:sp>
      <p:pic>
        <p:nvPicPr>
          <p:cNvPr id="29" name="Picture 29" descr="PowerAps Champ Eric McKinney - Photo">
            <a:extLst>
              <a:ext uri="{FF2B5EF4-FFF2-40B4-BE49-F238E27FC236}">
                <a16:creationId xmlns:a16="http://schemas.microsoft.com/office/drawing/2014/main" id="{DDA23967-B990-4696-B306-2979E9C4DA4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532937" y="1408857"/>
            <a:ext cx="527675" cy="756000"/>
          </a:xfrm>
          <a:prstGeom prst="rect">
            <a:avLst/>
          </a:prstGeom>
        </p:spPr>
      </p:pic>
      <p:pic>
        <p:nvPicPr>
          <p:cNvPr id="30" name="Picture 30" descr="PowerApps Champ Ludovic Malondra - Photo">
            <a:extLst>
              <a:ext uri="{FF2B5EF4-FFF2-40B4-BE49-F238E27FC236}">
                <a16:creationId xmlns:a16="http://schemas.microsoft.com/office/drawing/2014/main" id="{663BD7D1-A4DF-47AB-973A-FDBEDDE6DB7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29643" y="1408857"/>
            <a:ext cx="527675" cy="756000"/>
          </a:xfrm>
          <a:prstGeom prst="rect">
            <a:avLst/>
          </a:prstGeom>
        </p:spPr>
      </p:pic>
      <p:pic>
        <p:nvPicPr>
          <p:cNvPr id="31" name="Picture 31" descr="Powerapps Champ Vanessa Welgemoed - Photo">
            <a:extLst>
              <a:ext uri="{FF2B5EF4-FFF2-40B4-BE49-F238E27FC236}">
                <a16:creationId xmlns:a16="http://schemas.microsoft.com/office/drawing/2014/main" id="{C9516B67-856B-4168-9829-5AD1229564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20480" y="1403272"/>
            <a:ext cx="527675" cy="756000"/>
          </a:xfrm>
          <a:prstGeom prst="rect">
            <a:avLst/>
          </a:prstGeom>
        </p:spPr>
      </p:pic>
      <p:pic>
        <p:nvPicPr>
          <p:cNvPr id="28" name="Picture 28" descr="PowerApps Champ Remi Delaboulas - Photo">
            <a:extLst>
              <a:ext uri="{FF2B5EF4-FFF2-40B4-BE49-F238E27FC236}">
                <a16:creationId xmlns:a16="http://schemas.microsoft.com/office/drawing/2014/main" id="{BA1FF04D-2742-4EBF-98EF-25FDB48B870F}"/>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17187" y="1403272"/>
            <a:ext cx="527675" cy="756000"/>
          </a:xfrm>
          <a:prstGeom prst="rect">
            <a:avLst/>
          </a:prstGeom>
        </p:spPr>
      </p:pic>
      <p:pic>
        <p:nvPicPr>
          <p:cNvPr id="32" name="Picture 32" descr="PowerApps Champc Kent Weare - Photo">
            <a:extLst>
              <a:ext uri="{FF2B5EF4-FFF2-40B4-BE49-F238E27FC236}">
                <a16:creationId xmlns:a16="http://schemas.microsoft.com/office/drawing/2014/main" id="{088C66EF-0239-4A37-877E-46F10A1EB6F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570" r="371"/>
          <a:stretch/>
        </p:blipFill>
        <p:spPr>
          <a:xfrm>
            <a:off x="7913893" y="1405535"/>
            <a:ext cx="538880" cy="756000"/>
          </a:xfrm>
          <a:prstGeom prst="rect">
            <a:avLst/>
          </a:prstGeom>
        </p:spPr>
      </p:pic>
      <p:sp>
        <p:nvSpPr>
          <p:cNvPr id="12" name="Text Placeholder 2">
            <a:extLst>
              <a:ext uri="{FF2B5EF4-FFF2-40B4-BE49-F238E27FC236}">
                <a16:creationId xmlns:a16="http://schemas.microsoft.com/office/drawing/2014/main" id="{71821E23-793C-4113-A73E-DD561D1FAD19}"/>
              </a:ext>
            </a:extLst>
          </p:cNvPr>
          <p:cNvSpPr txBox="1">
            <a:spLocks/>
          </p:cNvSpPr>
          <p:nvPr/>
        </p:nvSpPr>
        <p:spPr>
          <a:xfrm>
            <a:off x="410509" y="3957550"/>
            <a:ext cx="8322985" cy="40741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Some organizations start with a centralized IT apps and then grow into organic development</a:t>
            </a:r>
          </a:p>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Far more start with organic solutions in business units and grow into a centralized IT CoE</a:t>
            </a:r>
          </a:p>
        </p:txBody>
      </p:sp>
    </p:spTree>
    <p:extLst>
      <p:ext uri="{BB962C8B-B14F-4D97-AF65-F5344CB8AC3E}">
        <p14:creationId xmlns:p14="http://schemas.microsoft.com/office/powerpoint/2010/main" val="291260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de-DE" dirty="0"/>
              <a:t>And where do apps and flows come from?</a:t>
            </a:r>
            <a:endParaRPr lang="en-US" dirty="0"/>
          </a:p>
        </p:txBody>
      </p:sp>
      <p:pic>
        <p:nvPicPr>
          <p:cNvPr id="13" name="Picture 5" descr="Powerapps and Sharepoint - Screenshot">
            <a:extLst>
              <a:ext uri="{FF2B5EF4-FFF2-40B4-BE49-F238E27FC236}">
                <a16:creationId xmlns:a16="http://schemas.microsoft.com/office/drawing/2014/main" id="{AD1AB84A-8BB1-4D18-A2D9-32FDB242FF0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5739" y="1630992"/>
            <a:ext cx="2565719" cy="1491476"/>
          </a:xfrm>
          <a:prstGeom prst="rect">
            <a:avLst/>
          </a:prstGeom>
          <a:ln>
            <a:solidFill>
              <a:schemeClr val="bg2">
                <a:lumMod val="50000"/>
              </a:schemeClr>
            </a:solidFill>
          </a:ln>
        </p:spPr>
      </p:pic>
      <p:pic>
        <p:nvPicPr>
          <p:cNvPr id="18" name="Picture 6" descr="Power Automate - Screenshot">
            <a:extLst>
              <a:ext uri="{FF2B5EF4-FFF2-40B4-BE49-F238E27FC236}">
                <a16:creationId xmlns:a16="http://schemas.microsoft.com/office/drawing/2014/main" id="{C9F8C22D-651A-42C5-B82A-F97955424BA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18464" y="1985800"/>
            <a:ext cx="1687500" cy="1080000"/>
          </a:xfrm>
          <a:prstGeom prst="rect">
            <a:avLst/>
          </a:prstGeom>
          <a:ln>
            <a:solidFill>
              <a:schemeClr val="bg2">
                <a:lumMod val="50000"/>
              </a:schemeClr>
            </a:solid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rovide customization for Microsoft 365 and Dynamics 365</a:t>
            </a:r>
          </a:p>
        </p:txBody>
      </p:sp>
      <p:pic>
        <p:nvPicPr>
          <p:cNvPr id="14" name="Picture 3" descr="Powerapps Plan Screenshot">
            <a:extLst>
              <a:ext uri="{FF2B5EF4-FFF2-40B4-BE49-F238E27FC236}">
                <a16:creationId xmlns:a16="http://schemas.microsoft.com/office/drawing/2014/main" id="{F3A4A57E-CAA8-4009-94A4-B19AA55FE4D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356263" y="2040112"/>
            <a:ext cx="1263563" cy="1467913"/>
          </a:xfrm>
          <a:prstGeom prst="rect">
            <a:avLst/>
          </a:prstGeom>
        </p:spPr>
      </p:pic>
      <p:pic>
        <p:nvPicPr>
          <p:cNvPr id="15" name="Picture 5" descr="Flow Plan- Screenshot">
            <a:extLst>
              <a:ext uri="{FF2B5EF4-FFF2-40B4-BE49-F238E27FC236}">
                <a16:creationId xmlns:a16="http://schemas.microsoft.com/office/drawing/2014/main" id="{FF9387FC-DBBA-47C6-B5BC-331C0CA5843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572001" y="2033246"/>
            <a:ext cx="1307465" cy="1458805"/>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0"/>
            <a:ext cx="2034324" cy="63350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Individuals can sign-up to learn </a:t>
            </a:r>
            <a:br>
              <a:rPr lang="en-US" sz="1029" dirty="0">
                <a:solidFill>
                  <a:srgbClr val="3C3C41"/>
                </a:solidFill>
                <a:latin typeface="Segoe UI Light" panose="020B0502040204020203" pitchFamily="34" charset="0"/>
                <a:cs typeface="Segoe UI Light" panose="020B0502040204020203" pitchFamily="34" charset="0"/>
              </a:rPr>
            </a:br>
            <a:r>
              <a:rPr lang="en-US" sz="1029" dirty="0">
                <a:solidFill>
                  <a:srgbClr val="3C3C41"/>
                </a:solidFill>
                <a:latin typeface="Segoe UI Light" panose="020B0502040204020203" pitchFamily="34" charset="0"/>
                <a:cs typeface="Segoe UI Light" panose="020B0502040204020203" pitchFamily="34" charset="0"/>
              </a:rPr>
              <a:t>and test out:</a:t>
            </a:r>
          </a:p>
          <a:p>
            <a:pPr lvl="0" algn="ctr"/>
            <a:r>
              <a:rPr lang="en-US" sz="1029" dirty="0">
                <a:solidFill>
                  <a:srgbClr val="3C3C41"/>
                </a:solidFill>
                <a:latin typeface="Segoe UI Light" panose="020B0502040204020203" pitchFamily="34" charset="0"/>
                <a:cs typeface="Segoe UI Light" panose="020B0502040204020203" pitchFamily="34" charset="0"/>
              </a:rPr>
              <a:t>Power Automate or Power Apps community plan</a:t>
            </a:r>
          </a:p>
        </p:txBody>
      </p:sp>
      <p:pic>
        <p:nvPicPr>
          <p:cNvPr id="16" name="Picture 3" descr="Powerapps Screenshot">
            <a:extLst>
              <a:ext uri="{FF2B5EF4-FFF2-40B4-BE49-F238E27FC236}">
                <a16:creationId xmlns:a16="http://schemas.microsoft.com/office/drawing/2014/main" id="{9ACE51DD-778E-4B55-A9F1-51B2AF10200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932860" y="1630992"/>
            <a:ext cx="2516445" cy="1491476"/>
          </a:xfrm>
          <a:prstGeom prst="rect">
            <a:avLst/>
          </a:prstGeom>
          <a:ln>
            <a:solidFill>
              <a:schemeClr val="bg2">
                <a:lumMod val="50000"/>
              </a:schemeClr>
            </a:solidFill>
          </a:ln>
        </p:spPr>
      </p:pic>
      <p:pic>
        <p:nvPicPr>
          <p:cNvPr id="17" name="Picture 5" descr="Power Automate - Screenshot">
            <a:extLst>
              <a:ext uri="{FF2B5EF4-FFF2-40B4-BE49-F238E27FC236}">
                <a16:creationId xmlns:a16="http://schemas.microsoft.com/office/drawing/2014/main" id="{627147CA-1CE2-42F3-B86C-143054F864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608860" y="1985800"/>
            <a:ext cx="1687500" cy="1080000"/>
          </a:xfrm>
          <a:prstGeom prst="rect">
            <a:avLst/>
          </a:prstGeom>
          <a:ln>
            <a:solidFill>
              <a:schemeClr val="bg2">
                <a:lumMod val="50000"/>
              </a:schemeClr>
            </a:solidFill>
          </a:ln>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aid licenses give users the ability to build stand-alone apps and flows</a:t>
            </a:r>
          </a:p>
        </p:txBody>
      </p:sp>
    </p:spTree>
    <p:extLst>
      <p:ext uri="{BB962C8B-B14F-4D97-AF65-F5344CB8AC3E}">
        <p14:creationId xmlns:p14="http://schemas.microsoft.com/office/powerpoint/2010/main" val="395332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CC2E-2F8E-4D4A-9CB9-93C5529D3DC9}"/>
              </a:ext>
            </a:extLst>
          </p:cNvPr>
          <p:cNvSpPr>
            <a:spLocks noGrp="1"/>
          </p:cNvSpPr>
          <p:nvPr>
            <p:ph type="title"/>
          </p:nvPr>
        </p:nvSpPr>
        <p:spPr/>
        <p:txBody>
          <a:bodyPr/>
          <a:lstStyle/>
          <a:p>
            <a:r>
              <a:rPr lang="en-US" dirty="0"/>
              <a:t>Self Service Purchase</a:t>
            </a:r>
          </a:p>
        </p:txBody>
      </p:sp>
      <p:sp>
        <p:nvSpPr>
          <p:cNvPr id="5" name="Text Placeholder 2">
            <a:extLst>
              <a:ext uri="{FF2B5EF4-FFF2-40B4-BE49-F238E27FC236}">
                <a16:creationId xmlns:a16="http://schemas.microsoft.com/office/drawing/2014/main" id="{77E63B08-6E9B-4B69-991F-37DC10409817}"/>
              </a:ext>
            </a:extLst>
          </p:cNvPr>
          <p:cNvSpPr>
            <a:spLocks noGrp="1"/>
          </p:cNvSpPr>
          <p:nvPr>
            <p:ph type="body" sz="quarter" idx="10"/>
          </p:nvPr>
        </p:nvSpPr>
        <p:spPr>
          <a:xfrm>
            <a:off x="362212" y="767704"/>
            <a:ext cx="8382322" cy="1163395"/>
          </a:xfrm>
        </p:spPr>
        <p:txBody>
          <a:bodyPr/>
          <a:lstStyle/>
          <a:p>
            <a:r>
              <a:rPr lang="en-US" sz="2000" dirty="0"/>
              <a:t>By default, users can make and manage self-service license purchases </a:t>
            </a:r>
          </a:p>
          <a:p>
            <a:endParaRPr lang="en-US" sz="2000" dirty="0"/>
          </a:p>
          <a:p>
            <a:r>
              <a:rPr lang="en-US" sz="2000" dirty="0"/>
              <a:t>Admins can disable self-service purchases using PowerShell</a:t>
            </a:r>
            <a:br>
              <a:rPr lang="en-US" sz="2400" dirty="0"/>
            </a:br>
            <a:endParaRPr lang="en-US" sz="2400" dirty="0"/>
          </a:p>
        </p:txBody>
      </p:sp>
      <p:sp>
        <p:nvSpPr>
          <p:cNvPr id="3" name="TextBox 2">
            <a:extLst>
              <a:ext uri="{FF2B5EF4-FFF2-40B4-BE49-F238E27FC236}">
                <a16:creationId xmlns:a16="http://schemas.microsoft.com/office/drawing/2014/main" id="{E1DE2206-D49B-45FB-A37C-AA598FE76FCA}"/>
              </a:ext>
            </a:extLst>
          </p:cNvPr>
          <p:cNvSpPr txBox="1"/>
          <p:nvPr/>
        </p:nvSpPr>
        <p:spPr>
          <a:xfrm>
            <a:off x="171511" y="2245032"/>
            <a:ext cx="8862907" cy="1523494"/>
          </a:xfrm>
          <a:prstGeom prst="rect">
            <a:avLst/>
          </a:prstGeom>
          <a:noFill/>
        </p:spPr>
        <p:txBody>
          <a:bodyPr wrap="square" lIns="0" tIns="0" rIns="0" bIns="0" rtlCol="0">
            <a:spAutoFit/>
          </a:bodyPr>
          <a:lstStyle/>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Import-Modul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Name MSCommerc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Connect-MSCommerc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sign-in with your global or billing administrator account when prompted</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product =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Get-MSCommerceProductPolicies</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llowSelfServicePurchase | where {$_.ProductName -match 'Power Automat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Update-MSCommerceProductPolicy</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AllowSelfServicePurchas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roductId $product.Product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Enabled $false</a:t>
            </a:r>
          </a:p>
        </p:txBody>
      </p:sp>
      <p:sp>
        <p:nvSpPr>
          <p:cNvPr id="8" name="TextBox 7">
            <a:extLst>
              <a:ext uri="{FF2B5EF4-FFF2-40B4-BE49-F238E27FC236}">
                <a16:creationId xmlns:a16="http://schemas.microsoft.com/office/drawing/2014/main" id="{C59A5821-0774-4945-8C15-07984AC2DC4F}"/>
              </a:ext>
            </a:extLst>
          </p:cNvPr>
          <p:cNvSpPr txBox="1"/>
          <p:nvPr/>
        </p:nvSpPr>
        <p:spPr>
          <a:xfrm>
            <a:off x="264972" y="4526518"/>
            <a:ext cx="8614054" cy="707886"/>
          </a:xfrm>
          <a:prstGeom prst="rect">
            <a:avLst/>
          </a:prstGeom>
          <a:noFill/>
        </p:spPr>
        <p:txBody>
          <a:bodyPr wrap="square" lIns="0" tIns="0" rIns="0" bIns="0" rtlCol="0">
            <a:spAutoFit/>
          </a:bodyPr>
          <a:lstStyle/>
          <a:p>
            <a:pPr algn="ctr"/>
            <a:r>
              <a:rPr lang="en-GB" sz="1400" dirty="0">
                <a:hlinkClick r:id="rId3"/>
              </a:rPr>
              <a:t>https://docs.microsoft.com/en-us/microsoft-365/commerce/subscriptions/self-service-purchase-faq</a:t>
            </a:r>
            <a:endParaRPr lang="en-GB" sz="1400" dirty="0"/>
          </a:p>
          <a:p>
            <a:endParaRPr lang="en-GB" sz="1600" dirty="0">
              <a:gradFill>
                <a:gsLst>
                  <a:gs pos="0">
                    <a:schemeClr val="tx1"/>
                  </a:gs>
                  <a:gs pos="86000">
                    <a:schemeClr val="tx1"/>
                  </a:gs>
                </a:gsLst>
                <a:lin ang="5400000" scaled="0"/>
              </a:gradFill>
            </a:endParaRPr>
          </a:p>
          <a:p>
            <a:endParaRPr lang="en-US" sz="16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5533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834371-B7BF-4038-BF5E-FB2F89202BB6}"/>
              </a:ext>
            </a:extLst>
          </p:cNvPr>
          <p:cNvSpPr>
            <a:spLocks noGrp="1"/>
          </p:cNvSpPr>
          <p:nvPr>
            <p:ph type="title"/>
          </p:nvPr>
        </p:nvSpPr>
        <p:spPr/>
        <p:txBody>
          <a:bodyPr/>
          <a:lstStyle/>
          <a:p>
            <a:r>
              <a:rPr lang="en-US" sz="2060" dirty="0"/>
              <a:t>Which portal to use for what?</a:t>
            </a:r>
          </a:p>
        </p:txBody>
      </p:sp>
      <p:sp>
        <p:nvSpPr>
          <p:cNvPr id="44" name="Rectangle 43">
            <a:extLst>
              <a:ext uri="{FF2B5EF4-FFF2-40B4-BE49-F238E27FC236}">
                <a16:creationId xmlns:a16="http://schemas.microsoft.com/office/drawing/2014/main" id="{EBF61921-39A7-44AD-9F71-C7B166C417FF}"/>
              </a:ext>
            </a:extLst>
          </p:cNvPr>
          <p:cNvSpPr/>
          <p:nvPr/>
        </p:nvSpPr>
        <p:spPr bwMode="auto">
          <a:xfrm>
            <a:off x="395537" y="94974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 Portals</a:t>
            </a:r>
          </a:p>
        </p:txBody>
      </p:sp>
      <p:sp>
        <p:nvSpPr>
          <p:cNvPr id="6" name="Rectangle 5">
            <a:extLst>
              <a:ext uri="{FF2B5EF4-FFF2-40B4-BE49-F238E27FC236}">
                <a16:creationId xmlns:a16="http://schemas.microsoft.com/office/drawing/2014/main" id="{81575A28-A14F-4292-A83B-55070A42DE1A}"/>
              </a:ext>
            </a:extLst>
          </p:cNvPr>
          <p:cNvSpPr/>
          <p:nvPr/>
        </p:nvSpPr>
        <p:spPr bwMode="auto">
          <a:xfrm>
            <a:off x="395536"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Users/Licenses</a:t>
            </a:r>
          </a:p>
        </p:txBody>
      </p:sp>
      <p:sp>
        <p:nvSpPr>
          <p:cNvPr id="7" name="Rectangle 6">
            <a:extLst>
              <a:ext uri="{FF2B5EF4-FFF2-40B4-BE49-F238E27FC236}">
                <a16:creationId xmlns:a16="http://schemas.microsoft.com/office/drawing/2014/main" id="{48E877C2-3FF7-410C-8679-99F886B9D95A}"/>
              </a:ext>
            </a:extLst>
          </p:cNvPr>
          <p:cNvSpPr/>
          <p:nvPr/>
        </p:nvSpPr>
        <p:spPr bwMode="auto">
          <a:xfrm>
            <a:off x="395536"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microsoft.com</a:t>
            </a:r>
          </a:p>
        </p:txBody>
      </p:sp>
      <p:sp>
        <p:nvSpPr>
          <p:cNvPr id="23" name="Rectangle 22">
            <a:extLst>
              <a:ext uri="{FF2B5EF4-FFF2-40B4-BE49-F238E27FC236}">
                <a16:creationId xmlns:a16="http://schemas.microsoft.com/office/drawing/2014/main" id="{852D75A5-2200-4527-A016-EEAD0874F076}"/>
              </a:ext>
            </a:extLst>
          </p:cNvPr>
          <p:cNvSpPr/>
          <p:nvPr/>
        </p:nvSpPr>
        <p:spPr bwMode="auto">
          <a:xfrm>
            <a:off x="395536" y="2199742"/>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dirty="0">
                <a:solidFill>
                  <a:srgbClr val="FFFFFF"/>
                </a:solidFill>
                <a:latin typeface="Segoe UI Light"/>
              </a:rPr>
              <a:t>partner.microsoft.com/dashboard </a:t>
            </a:r>
          </a:p>
        </p:txBody>
      </p:sp>
      <p:sp>
        <p:nvSpPr>
          <p:cNvPr id="10" name="Rectangle 9">
            <a:extLst>
              <a:ext uri="{FF2B5EF4-FFF2-40B4-BE49-F238E27FC236}">
                <a16:creationId xmlns:a16="http://schemas.microsoft.com/office/drawing/2014/main" id="{46011DF3-AF12-4119-86FD-AD26A944B315}"/>
              </a:ext>
            </a:extLst>
          </p:cNvPr>
          <p:cNvSpPr/>
          <p:nvPr/>
        </p:nvSpPr>
        <p:spPr bwMode="auto">
          <a:xfrm>
            <a:off x="4985191" y="1419622"/>
            <a:ext cx="3456384" cy="43204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9" name="Rectangle 8">
            <a:extLst>
              <a:ext uri="{FF2B5EF4-FFF2-40B4-BE49-F238E27FC236}">
                <a16:creationId xmlns:a16="http://schemas.microsoft.com/office/drawing/2014/main" id="{941697FF-F54A-4BF0-A592-6B8D0CB72E8E}"/>
              </a:ext>
            </a:extLst>
          </p:cNvPr>
          <p:cNvSpPr/>
          <p:nvPr/>
        </p:nvSpPr>
        <p:spPr bwMode="auto">
          <a:xfrm>
            <a:off x="4985191"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dmin.powerplatform.microsoft.com</a:t>
            </a:r>
          </a:p>
        </p:txBody>
      </p:sp>
      <p:sp>
        <p:nvSpPr>
          <p:cNvPr id="8" name="Rectangle 7">
            <a:extLst>
              <a:ext uri="{FF2B5EF4-FFF2-40B4-BE49-F238E27FC236}">
                <a16:creationId xmlns:a16="http://schemas.microsoft.com/office/drawing/2014/main" id="{DEFB9528-9A75-4369-ABAA-B627BB089CCA}"/>
              </a:ext>
              <a:ext uri="{C183D7F6-B498-43B3-948B-1728B52AA6E4}">
                <adec:decorative xmlns:adec="http://schemas.microsoft.com/office/drawing/2017/decorative" val="1"/>
              </a:ext>
            </a:extLst>
          </p:cNvPr>
          <p:cNvSpPr/>
          <p:nvPr/>
        </p:nvSpPr>
        <p:spPr bwMode="auto">
          <a:xfrm>
            <a:off x="4985191"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11" name="Rectangle 10">
            <a:extLst>
              <a:ext uri="{FF2B5EF4-FFF2-40B4-BE49-F238E27FC236}">
                <a16:creationId xmlns:a16="http://schemas.microsoft.com/office/drawing/2014/main" id="{F9250C69-A235-42BC-B1DD-581A3D839278}"/>
              </a:ext>
              <a:ext uri="{C183D7F6-B498-43B3-948B-1728B52AA6E4}">
                <adec:decorative xmlns:adec="http://schemas.microsoft.com/office/drawing/2017/decorative" val="1"/>
              </a:ext>
            </a:extLst>
          </p:cNvPr>
          <p:cNvSpPr/>
          <p:nvPr/>
        </p:nvSpPr>
        <p:spPr bwMode="auto">
          <a:xfrm>
            <a:off x="4985191" y="1851670"/>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ka.ms/ppac</a:t>
            </a:r>
          </a:p>
        </p:txBody>
      </p:sp>
      <p:sp>
        <p:nvSpPr>
          <p:cNvPr id="45" name="Rectangle 44">
            <a:extLst>
              <a:ext uri="{FF2B5EF4-FFF2-40B4-BE49-F238E27FC236}">
                <a16:creationId xmlns:a16="http://schemas.microsoft.com/office/drawing/2014/main" id="{4EB78315-6B0B-4130-9AB7-797CC5F396E9}"/>
              </a:ext>
            </a:extLst>
          </p:cNvPr>
          <p:cNvSpPr/>
          <p:nvPr/>
        </p:nvSpPr>
        <p:spPr bwMode="auto">
          <a:xfrm>
            <a:off x="457460" y="357967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r Portals</a:t>
            </a:r>
          </a:p>
        </p:txBody>
      </p:sp>
      <p:sp>
        <p:nvSpPr>
          <p:cNvPr id="42" name="Rectangle 41">
            <a:extLst>
              <a:ext uri="{FF2B5EF4-FFF2-40B4-BE49-F238E27FC236}">
                <a16:creationId xmlns:a16="http://schemas.microsoft.com/office/drawing/2014/main" id="{DFE10406-7262-45B8-ADA7-BA04921F6B9F}"/>
              </a:ext>
            </a:extLst>
          </p:cNvPr>
          <p:cNvSpPr/>
          <p:nvPr/>
        </p:nvSpPr>
        <p:spPr bwMode="auto">
          <a:xfrm>
            <a:off x="467544" y="4053399"/>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Apps</a:t>
            </a:r>
          </a:p>
        </p:txBody>
      </p:sp>
      <p:sp>
        <p:nvSpPr>
          <p:cNvPr id="43" name="Rectangle 42">
            <a:extLst>
              <a:ext uri="{FF2B5EF4-FFF2-40B4-BE49-F238E27FC236}">
                <a16:creationId xmlns:a16="http://schemas.microsoft.com/office/drawing/2014/main" id="{186BCA07-EBEF-426B-8B79-506B698FC2D9}"/>
              </a:ext>
            </a:extLst>
          </p:cNvPr>
          <p:cNvSpPr/>
          <p:nvPr/>
        </p:nvSpPr>
        <p:spPr bwMode="auto">
          <a:xfrm>
            <a:off x="467544" y="4485448"/>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powerapps.com</a:t>
            </a:r>
          </a:p>
        </p:txBody>
      </p:sp>
      <p:sp>
        <p:nvSpPr>
          <p:cNvPr id="46" name="Rectangle 45">
            <a:extLst>
              <a:ext uri="{FF2B5EF4-FFF2-40B4-BE49-F238E27FC236}">
                <a16:creationId xmlns:a16="http://schemas.microsoft.com/office/drawing/2014/main" id="{A5723BF5-5F85-4EA9-93C2-10531F70F6BD}"/>
              </a:ext>
            </a:extLst>
          </p:cNvPr>
          <p:cNvSpPr/>
          <p:nvPr/>
        </p:nvSpPr>
        <p:spPr bwMode="auto">
          <a:xfrm>
            <a:off x="5047115" y="4036956"/>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Flows</a:t>
            </a:r>
          </a:p>
        </p:txBody>
      </p:sp>
      <p:sp>
        <p:nvSpPr>
          <p:cNvPr id="47" name="Rectangle 46">
            <a:extLst>
              <a:ext uri="{FF2B5EF4-FFF2-40B4-BE49-F238E27FC236}">
                <a16:creationId xmlns:a16="http://schemas.microsoft.com/office/drawing/2014/main" id="{0AEE6A1B-54C0-42EC-A116-7160DFC43D7A}"/>
              </a:ext>
            </a:extLst>
          </p:cNvPr>
          <p:cNvSpPr/>
          <p:nvPr/>
        </p:nvSpPr>
        <p:spPr bwMode="auto">
          <a:xfrm>
            <a:off x="5047115" y="4469005"/>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flow.microsoft.com</a:t>
            </a:r>
          </a:p>
        </p:txBody>
      </p:sp>
    </p:spTree>
    <p:extLst>
      <p:ext uri="{BB962C8B-B14F-4D97-AF65-F5344CB8AC3E}">
        <p14:creationId xmlns:p14="http://schemas.microsoft.com/office/powerpoint/2010/main" val="175271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8A7C6-6D66-4200-8ED7-EBB9DDEBF846}"/>
              </a:ext>
            </a:extLst>
          </p:cNvPr>
          <p:cNvSpPr>
            <a:spLocks noGrp="1"/>
          </p:cNvSpPr>
          <p:nvPr>
            <p:ph type="title"/>
          </p:nvPr>
        </p:nvSpPr>
        <p:spPr/>
        <p:txBody>
          <a:bodyPr/>
          <a:lstStyle/>
          <a:p>
            <a:r>
              <a:rPr lang="en-GB" dirty="0">
                <a:solidFill>
                  <a:schemeClr val="tx1"/>
                </a:solidFill>
              </a:rPr>
              <a:t>Understand layers of security</a:t>
            </a:r>
          </a:p>
        </p:txBody>
      </p:sp>
    </p:spTree>
    <p:extLst>
      <p:ext uri="{BB962C8B-B14F-4D97-AF65-F5344CB8AC3E}">
        <p14:creationId xmlns:p14="http://schemas.microsoft.com/office/powerpoint/2010/main" val="359066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4BB476D-C2FE-4557-A3CE-6EFB262E47FB}"/>
              </a:ext>
            </a:extLst>
          </p:cNvPr>
          <p:cNvGrpSpPr/>
          <p:nvPr/>
        </p:nvGrpSpPr>
        <p:grpSpPr>
          <a:xfrm>
            <a:off x="-11031" y="-3572"/>
            <a:ext cx="9157473" cy="5150759"/>
            <a:chOff x="-14708" y="-4763"/>
            <a:chExt cx="12209964" cy="6867679"/>
          </a:xfrm>
        </p:grpSpPr>
        <p:pic>
          <p:nvPicPr>
            <p:cNvPr id="247" name="Picture Placeholder 390">
              <a:extLst>
                <a:ext uri="{FF2B5EF4-FFF2-40B4-BE49-F238E27FC236}">
                  <a16:creationId xmlns:a16="http://schemas.microsoft.com/office/drawing/2014/main" id="{D18DB2ED-5397-4EB3-9B39-CAD2091554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812" t="-378"/>
            <a:stretch/>
          </p:blipFill>
          <p:spPr>
            <a:xfrm>
              <a:off x="7604276" y="3416474"/>
              <a:ext cx="1539382" cy="1166204"/>
            </a:xfrm>
            <a:prstGeom prst="rect">
              <a:avLst/>
            </a:prstGeom>
          </p:spPr>
        </p:pic>
        <p:pic>
          <p:nvPicPr>
            <p:cNvPr id="115" name="Picture 10">
              <a:extLst>
                <a:ext uri="{FF2B5EF4-FFF2-40B4-BE49-F238E27FC236}">
                  <a16:creationId xmlns:a16="http://schemas.microsoft.com/office/drawing/2014/main" id="{72BCFBC0-078D-46B3-AC41-26CB6CADB1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7141285" y="4570026"/>
              <a:ext cx="2002245" cy="113041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Placeholder 2106" descr="A store inside of a building&#10;&#10;Description automatically generated">
              <a:extLst>
                <a:ext uri="{FF2B5EF4-FFF2-40B4-BE49-F238E27FC236}">
                  <a16:creationId xmlns:a16="http://schemas.microsoft.com/office/drawing/2014/main" id="{DB2DF656-AE5D-4165-B1BD-AFBF681D1230}"/>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3044820" y="3420141"/>
              <a:ext cx="1527048" cy="1149886"/>
            </a:xfrm>
            <a:prstGeom prst="rect">
              <a:avLst/>
            </a:prstGeom>
          </p:spPr>
        </p:pic>
        <p:pic>
          <p:nvPicPr>
            <p:cNvPr id="118" name="Picture 2" descr="See the source image">
              <a:extLst>
                <a:ext uri="{FF2B5EF4-FFF2-40B4-BE49-F238E27FC236}">
                  <a16:creationId xmlns:a16="http://schemas.microsoft.com/office/drawing/2014/main" id="{46789AB1-D919-45D3-8BEC-4A7BEE015BD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a:xfrm>
              <a:off x="9143532" y="1140047"/>
              <a:ext cx="1527048" cy="1149886"/>
            </a:xfrm>
            <a:prstGeom prst="rect">
              <a:avLst/>
            </a:prstGeom>
          </p:spPr>
        </p:pic>
        <p:pic>
          <p:nvPicPr>
            <p:cNvPr id="119" name="Picture 4">
              <a:extLst>
                <a:ext uri="{FF2B5EF4-FFF2-40B4-BE49-F238E27FC236}">
                  <a16:creationId xmlns:a16="http://schemas.microsoft.com/office/drawing/2014/main" id="{57A6E4FA-8010-4956-A4B5-2D6CDBFBC39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b="-1386"/>
            <a:stretch/>
          </p:blipFill>
          <p:spPr>
            <a:xfrm>
              <a:off x="-4536" y="2288734"/>
              <a:ext cx="1527048" cy="1142101"/>
            </a:xfrm>
            <a:prstGeom prst="rect">
              <a:avLst/>
            </a:prstGeom>
          </p:spPr>
        </p:pic>
        <p:pic>
          <p:nvPicPr>
            <p:cNvPr id="124" name="Picture 123">
              <a:extLst>
                <a:ext uri="{FF2B5EF4-FFF2-40B4-BE49-F238E27FC236}">
                  <a16:creationId xmlns:a16="http://schemas.microsoft.com/office/drawing/2014/main" id="{F01D23A8-BE19-4030-9325-2514DC21033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094174" y="-4763"/>
              <a:ext cx="1524677" cy="1143001"/>
            </a:xfrm>
            <a:prstGeom prst="rect">
              <a:avLst/>
            </a:prstGeom>
          </p:spPr>
        </p:pic>
        <p:pic>
          <p:nvPicPr>
            <p:cNvPr id="125" name="Picture Placeholder 624">
              <a:extLst>
                <a:ext uri="{FF2B5EF4-FFF2-40B4-BE49-F238E27FC236}">
                  <a16:creationId xmlns:a16="http://schemas.microsoft.com/office/drawing/2014/main" id="{5162C75E-3CB3-4BDE-A59D-48628CEE20C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
            <a:stretch/>
          </p:blipFill>
          <p:spPr>
            <a:xfrm>
              <a:off x="3053448" y="2297812"/>
              <a:ext cx="1516048" cy="1118807"/>
            </a:xfrm>
            <a:prstGeom prst="rect">
              <a:avLst/>
            </a:prstGeom>
          </p:spPr>
        </p:pic>
        <p:pic>
          <p:nvPicPr>
            <p:cNvPr id="128" name="Picture Placeholder 364" descr="A store front at day&#10;&#10;Description automatically generated">
              <a:extLst>
                <a:ext uri="{FF2B5EF4-FFF2-40B4-BE49-F238E27FC236}">
                  <a16:creationId xmlns:a16="http://schemas.microsoft.com/office/drawing/2014/main" id="{0AE089BA-23D0-4931-8DC3-3E55993A85B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0" y="0"/>
              <a:ext cx="1527048" cy="1149886"/>
            </a:xfrm>
            <a:prstGeom prst="rect">
              <a:avLst/>
            </a:prstGeom>
          </p:spPr>
        </p:pic>
        <p:pic>
          <p:nvPicPr>
            <p:cNvPr id="134" name="Picture Placeholder 365" descr="A picture containing food, indoor, vegetable, display&#10;&#10;Description automatically generated">
              <a:extLst>
                <a:ext uri="{FF2B5EF4-FFF2-40B4-BE49-F238E27FC236}">
                  <a16:creationId xmlns:a16="http://schemas.microsoft.com/office/drawing/2014/main" id="{7A74802B-6110-4364-A068-EAB1CD84F08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520142" y="0"/>
              <a:ext cx="1527048" cy="1149886"/>
            </a:xfrm>
            <a:prstGeom prst="rect">
              <a:avLst/>
            </a:prstGeom>
          </p:spPr>
        </p:pic>
        <p:pic>
          <p:nvPicPr>
            <p:cNvPr id="165" name="Picture Placeholder 366" descr="https://www.bmw.com/content/dam/bmw/marketBMWCOM/bmw_com/categories/all-models/3-series/sedan/2018/bmw-3-series-01-stage-hd-d.jpg.asset.1538462536665.jpg">
              <a:extLst>
                <a:ext uri="{FF2B5EF4-FFF2-40B4-BE49-F238E27FC236}">
                  <a16:creationId xmlns:a16="http://schemas.microsoft.com/office/drawing/2014/main" id="{9F32FD3D-CE0B-4B26-BC19-5C42C323AE5B}"/>
                </a:ext>
              </a:extLst>
            </p:cNvPr>
            <p:cNvPicPr>
              <a:picLocks/>
            </p:cNvPicPr>
            <p:nvPr/>
          </p:nvPicPr>
          <p:blipFill rotWithShape="1">
            <a:blip r:embed="rId12" cstate="print">
              <a:extLst>
                <a:ext uri="{28A0092B-C50C-407E-A947-70E740481C1C}">
                  <a14:useLocalDpi xmlns:a14="http://schemas.microsoft.com/office/drawing/2010/main"/>
                </a:ext>
              </a:extLst>
            </a:blip>
            <a:srcRect/>
            <a:stretch/>
          </p:blipFill>
          <p:spPr>
            <a:xfrm>
              <a:off x="3044820" y="0"/>
              <a:ext cx="1527048" cy="1149886"/>
            </a:xfrm>
            <a:prstGeom prst="rect">
              <a:avLst/>
            </a:prstGeom>
          </p:spPr>
        </p:pic>
        <p:pic>
          <p:nvPicPr>
            <p:cNvPr id="166" name="Picture Placeholder 367">
              <a:extLst>
                <a:ext uri="{FF2B5EF4-FFF2-40B4-BE49-F238E27FC236}">
                  <a16:creationId xmlns:a16="http://schemas.microsoft.com/office/drawing/2014/main" id="{DE2114D6-DEF5-4203-8FA7-090E89555F8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569498" y="0"/>
              <a:ext cx="1527048" cy="1149886"/>
            </a:xfrm>
            <a:prstGeom prst="rect">
              <a:avLst/>
            </a:prstGeom>
          </p:spPr>
        </p:pic>
        <p:pic>
          <p:nvPicPr>
            <p:cNvPr id="177" name="Picture Placeholder 374" descr="A car parked in a parking lot&#10;&#10;Description automatically generated">
              <a:extLst>
                <a:ext uri="{FF2B5EF4-FFF2-40B4-BE49-F238E27FC236}">
                  <a16:creationId xmlns:a16="http://schemas.microsoft.com/office/drawing/2014/main" id="{131A8418-AA84-4362-9297-33A394A721E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7618854" y="0"/>
              <a:ext cx="1527048" cy="1149886"/>
            </a:xfrm>
            <a:prstGeom prst="rect">
              <a:avLst/>
            </a:prstGeom>
          </p:spPr>
        </p:pic>
        <p:pic>
          <p:nvPicPr>
            <p:cNvPr id="181" name="Picture Placeholder 375" descr="A car parked on the side of a building&#10;&#10;Description automatically generated">
              <a:extLst>
                <a:ext uri="{FF2B5EF4-FFF2-40B4-BE49-F238E27FC236}">
                  <a16:creationId xmlns:a16="http://schemas.microsoft.com/office/drawing/2014/main" id="{A96AD199-462A-488E-8F54-9D29FDED44FF}"/>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9143532" y="0"/>
              <a:ext cx="1527048" cy="1149886"/>
            </a:xfrm>
            <a:prstGeom prst="rect">
              <a:avLst/>
            </a:prstGeom>
          </p:spPr>
        </p:pic>
        <p:pic>
          <p:nvPicPr>
            <p:cNvPr id="183" name="Picture Placeholder 669" descr="A car parked in a parking lot&#10;&#10;Description automatically generated">
              <a:extLst>
                <a:ext uri="{FF2B5EF4-FFF2-40B4-BE49-F238E27FC236}">
                  <a16:creationId xmlns:a16="http://schemas.microsoft.com/office/drawing/2014/main" id="{B1714941-2A11-467E-BEE0-D58136AA42DD}"/>
                </a:ext>
              </a:extLst>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a:xfrm>
              <a:off x="10668208" y="0"/>
              <a:ext cx="1527048" cy="1149886"/>
            </a:xfrm>
            <a:prstGeom prst="rect">
              <a:avLst/>
            </a:prstGeom>
          </p:spPr>
        </p:pic>
        <p:pic>
          <p:nvPicPr>
            <p:cNvPr id="184" name="Picture Placeholder 372" descr="A picture containing person, indoor, young, little&#10;&#10;Description automatically generated">
              <a:extLst>
                <a:ext uri="{FF2B5EF4-FFF2-40B4-BE49-F238E27FC236}">
                  <a16:creationId xmlns:a16="http://schemas.microsoft.com/office/drawing/2014/main" id="{7795484F-CD36-475D-A053-D7DBA4FB2B1C}"/>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36" y="1140047"/>
              <a:ext cx="1527048" cy="1149886"/>
            </a:xfrm>
            <a:prstGeom prst="rect">
              <a:avLst/>
            </a:prstGeom>
          </p:spPr>
        </p:pic>
        <p:pic>
          <p:nvPicPr>
            <p:cNvPr id="186" name="Picture Placeholder 376" descr="A large building&#10;&#10;Description automatically generated">
              <a:extLst>
                <a:ext uri="{FF2B5EF4-FFF2-40B4-BE49-F238E27FC236}">
                  <a16:creationId xmlns:a16="http://schemas.microsoft.com/office/drawing/2014/main" id="{410FC4BF-838A-44E6-A324-25063467868A}"/>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520142" y="1140047"/>
              <a:ext cx="1527048" cy="1149886"/>
            </a:xfrm>
            <a:prstGeom prst="rect">
              <a:avLst/>
            </a:prstGeom>
          </p:spPr>
        </p:pic>
        <p:pic>
          <p:nvPicPr>
            <p:cNvPr id="188" name="Picture Placeholder 377">
              <a:extLst>
                <a:ext uri="{FF2B5EF4-FFF2-40B4-BE49-F238E27FC236}">
                  <a16:creationId xmlns:a16="http://schemas.microsoft.com/office/drawing/2014/main" id="{2DF33D4C-A90B-46E1-8395-CA211EDCF21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044820" y="1166323"/>
              <a:ext cx="1527048" cy="1142100"/>
            </a:xfrm>
            <a:prstGeom prst="rect">
              <a:avLst/>
            </a:prstGeom>
          </p:spPr>
        </p:pic>
        <p:pic>
          <p:nvPicPr>
            <p:cNvPr id="189" name="Picture Placeholder 585" descr="A close up of a bottle&#10;&#10;Description automatically generated">
              <a:extLst>
                <a:ext uri="{FF2B5EF4-FFF2-40B4-BE49-F238E27FC236}">
                  <a16:creationId xmlns:a16="http://schemas.microsoft.com/office/drawing/2014/main" id="{AE77284B-E74E-494A-B8E2-0455A54D8FF2}"/>
                </a:ext>
              </a:extLst>
            </p:cNvPr>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a:xfrm>
              <a:off x="4569498" y="1140047"/>
              <a:ext cx="1527048" cy="1149886"/>
            </a:xfrm>
            <a:prstGeom prst="rect">
              <a:avLst/>
            </a:prstGeom>
          </p:spPr>
        </p:pic>
        <p:pic>
          <p:nvPicPr>
            <p:cNvPr id="190" name="Picture Placeholder 593">
              <a:extLst>
                <a:ext uri="{FF2B5EF4-FFF2-40B4-BE49-F238E27FC236}">
                  <a16:creationId xmlns:a16="http://schemas.microsoft.com/office/drawing/2014/main" id="{9942B2C9-FACA-44BE-A867-1F7BD0F440AF}"/>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b="-55"/>
            <a:stretch/>
          </p:blipFill>
          <p:spPr>
            <a:xfrm>
              <a:off x="6094176" y="1130030"/>
              <a:ext cx="1527048" cy="1150604"/>
            </a:xfrm>
            <a:prstGeom prst="rect">
              <a:avLst/>
            </a:prstGeom>
          </p:spPr>
        </p:pic>
        <p:pic>
          <p:nvPicPr>
            <p:cNvPr id="191" name="Picture Placeholder 597" descr="A group of people standing in front of a store&#10;&#10;Description automatically generated">
              <a:extLst>
                <a:ext uri="{FF2B5EF4-FFF2-40B4-BE49-F238E27FC236}">
                  <a16:creationId xmlns:a16="http://schemas.microsoft.com/office/drawing/2014/main" id="{0FD4928C-E680-407A-BB19-45D063716346}"/>
                </a:ext>
              </a:extLst>
            </p:cNvPr>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a:xfrm>
              <a:off x="7618854" y="1140047"/>
              <a:ext cx="1527048" cy="1149886"/>
            </a:xfrm>
            <a:prstGeom prst="rect">
              <a:avLst/>
            </a:prstGeom>
          </p:spPr>
        </p:pic>
        <p:pic>
          <p:nvPicPr>
            <p:cNvPr id="194" name="Picture Placeholder 602">
              <a:extLst>
                <a:ext uri="{FF2B5EF4-FFF2-40B4-BE49-F238E27FC236}">
                  <a16:creationId xmlns:a16="http://schemas.microsoft.com/office/drawing/2014/main" id="{A4460654-D948-4505-BF1E-FF2168D7332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10668208" y="1143569"/>
              <a:ext cx="1527048" cy="1128646"/>
            </a:xfrm>
            <a:prstGeom prst="rect">
              <a:avLst/>
            </a:prstGeom>
          </p:spPr>
        </p:pic>
        <p:pic>
          <p:nvPicPr>
            <p:cNvPr id="195" name="Picture Placeholder 626" descr="A picture containing indoor, table, bottle, wine&#10;&#10;Description automatically generated">
              <a:extLst>
                <a:ext uri="{FF2B5EF4-FFF2-40B4-BE49-F238E27FC236}">
                  <a16:creationId xmlns:a16="http://schemas.microsoft.com/office/drawing/2014/main" id="{B1C32988-F6CB-4320-A053-66CEBCCEF44C}"/>
                </a:ext>
              </a:extLst>
            </p:cNvPr>
            <p:cNvPicPr>
              <a:picLocks noChangeAspect="1"/>
            </p:cNvPicPr>
            <p:nvPr/>
          </p:nvPicPr>
          <p:blipFill>
            <a:blip r:embed="rId24" cstate="print">
              <a:extLst>
                <a:ext uri="{28A0092B-C50C-407E-A947-70E740481C1C}">
                  <a14:useLocalDpi xmlns:a14="http://schemas.microsoft.com/office/drawing/2010/main"/>
                </a:ext>
              </a:extLst>
            </a:blip>
            <a:srcRect/>
            <a:stretch>
              <a:fillRect/>
            </a:stretch>
          </p:blipFill>
          <p:spPr>
            <a:xfrm>
              <a:off x="1520142" y="2280094"/>
              <a:ext cx="1527048" cy="1149886"/>
            </a:xfrm>
            <a:prstGeom prst="rect">
              <a:avLst/>
            </a:prstGeom>
          </p:spPr>
        </p:pic>
        <p:pic>
          <p:nvPicPr>
            <p:cNvPr id="200" name="Picture Placeholder 622" descr="A person standing on a snow covered mountain&#10;&#10;Description automatically generated">
              <a:extLst>
                <a:ext uri="{FF2B5EF4-FFF2-40B4-BE49-F238E27FC236}">
                  <a16:creationId xmlns:a16="http://schemas.microsoft.com/office/drawing/2014/main" id="{502CD94D-3CF1-4E42-848F-0EB4738446F2}"/>
                </a:ext>
              </a:extLst>
            </p:cNvPr>
            <p:cNvPicPr>
              <a:picLocks noChangeAspect="1"/>
            </p:cNvPicPr>
            <p:nvPr/>
          </p:nvPicPr>
          <p:blipFill>
            <a:blip r:embed="rId25" cstate="print">
              <a:extLst>
                <a:ext uri="{28A0092B-C50C-407E-A947-70E740481C1C}">
                  <a14:useLocalDpi xmlns:a14="http://schemas.microsoft.com/office/drawing/2010/main"/>
                </a:ext>
              </a:extLst>
            </a:blip>
            <a:srcRect/>
            <a:stretch>
              <a:fillRect/>
            </a:stretch>
          </p:blipFill>
          <p:spPr>
            <a:xfrm>
              <a:off x="4569498" y="2280094"/>
              <a:ext cx="1527048" cy="1149886"/>
            </a:xfrm>
            <a:prstGeom prst="rect">
              <a:avLst/>
            </a:prstGeom>
          </p:spPr>
        </p:pic>
        <p:pic>
          <p:nvPicPr>
            <p:cNvPr id="205" name="Picture Placeholder 616">
              <a:extLst>
                <a:ext uri="{FF2B5EF4-FFF2-40B4-BE49-F238E27FC236}">
                  <a16:creationId xmlns:a16="http://schemas.microsoft.com/office/drawing/2014/main" id="{51C39C2B-83F4-47D4-A120-CD7A0374189D}"/>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t="-56"/>
            <a:stretch/>
          </p:blipFill>
          <p:spPr>
            <a:xfrm>
              <a:off x="6096000" y="2279248"/>
              <a:ext cx="1525224" cy="1144394"/>
            </a:xfrm>
            <a:prstGeom prst="rect">
              <a:avLst/>
            </a:prstGeom>
          </p:spPr>
        </p:pic>
        <p:pic>
          <p:nvPicPr>
            <p:cNvPr id="208" name="Picture Placeholder 614">
              <a:extLst>
                <a:ext uri="{FF2B5EF4-FFF2-40B4-BE49-F238E27FC236}">
                  <a16:creationId xmlns:a16="http://schemas.microsoft.com/office/drawing/2014/main" id="{0771CDA7-F0E2-4BAF-8CC0-B1B5EFFBAF5D}"/>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t="-378" b="-27"/>
            <a:stretch/>
          </p:blipFill>
          <p:spPr>
            <a:xfrm>
              <a:off x="7615598" y="2271098"/>
              <a:ext cx="1527048" cy="1147861"/>
            </a:xfrm>
            <a:prstGeom prst="rect">
              <a:avLst/>
            </a:prstGeom>
          </p:spPr>
        </p:pic>
        <p:pic>
          <p:nvPicPr>
            <p:cNvPr id="210" name="Picture Placeholder 611" descr="A truck is parked on the side of a road&#10;&#10;Description automatically generated">
              <a:extLst>
                <a:ext uri="{FF2B5EF4-FFF2-40B4-BE49-F238E27FC236}">
                  <a16:creationId xmlns:a16="http://schemas.microsoft.com/office/drawing/2014/main" id="{92EBB269-45C7-4081-8E1D-82EEE1D53E2E}"/>
                </a:ext>
              </a:extLst>
            </p:cNvPr>
            <p:cNvPicPr>
              <a:picLocks noChangeAspect="1"/>
            </p:cNvPicPr>
            <p:nvPr/>
          </p:nvPicPr>
          <p:blipFill>
            <a:blip r:embed="rId28" cstate="print">
              <a:extLst>
                <a:ext uri="{28A0092B-C50C-407E-A947-70E740481C1C}">
                  <a14:useLocalDpi xmlns:a14="http://schemas.microsoft.com/office/drawing/2010/main"/>
                </a:ext>
              </a:extLst>
            </a:blip>
            <a:srcRect/>
            <a:stretch>
              <a:fillRect/>
            </a:stretch>
          </p:blipFill>
          <p:spPr>
            <a:xfrm>
              <a:off x="9143532" y="2280094"/>
              <a:ext cx="1527048" cy="1149886"/>
            </a:xfrm>
            <a:prstGeom prst="rect">
              <a:avLst/>
            </a:prstGeom>
          </p:spPr>
        </p:pic>
        <p:pic>
          <p:nvPicPr>
            <p:cNvPr id="213" name="Picture Placeholder 607" descr="A large white building&#10;&#10;Description automatically generated">
              <a:extLst>
                <a:ext uri="{FF2B5EF4-FFF2-40B4-BE49-F238E27FC236}">
                  <a16:creationId xmlns:a16="http://schemas.microsoft.com/office/drawing/2014/main" id="{C00B40A5-6A01-4415-8C4D-839BE02E1076}"/>
                </a:ext>
              </a:extLst>
            </p:cNvPr>
            <p:cNvPicPr>
              <a:picLocks noChangeAspect="1"/>
            </p:cNvPicPr>
            <p:nvPr/>
          </p:nvPicPr>
          <p:blipFill>
            <a:blip r:embed="rId29" cstate="print">
              <a:extLst>
                <a:ext uri="{28A0092B-C50C-407E-A947-70E740481C1C}">
                  <a14:useLocalDpi xmlns:a14="http://schemas.microsoft.com/office/drawing/2010/main"/>
                </a:ext>
              </a:extLst>
            </a:blip>
            <a:srcRect/>
            <a:stretch>
              <a:fillRect/>
            </a:stretch>
          </p:blipFill>
          <p:spPr>
            <a:xfrm>
              <a:off x="10668208" y="2280094"/>
              <a:ext cx="1527048" cy="1149886"/>
            </a:xfrm>
            <a:prstGeom prst="rect">
              <a:avLst/>
            </a:prstGeom>
          </p:spPr>
        </p:pic>
        <p:pic>
          <p:nvPicPr>
            <p:cNvPr id="214" name="Picture Placeholder 2110">
              <a:extLst>
                <a:ext uri="{FF2B5EF4-FFF2-40B4-BE49-F238E27FC236}">
                  <a16:creationId xmlns:a16="http://schemas.microsoft.com/office/drawing/2014/main" id="{9F06D454-9889-4CB3-9AA1-4EF36D30B525}"/>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4536" y="3416619"/>
              <a:ext cx="1527048" cy="1149886"/>
            </a:xfrm>
            <a:prstGeom prst="rect">
              <a:avLst/>
            </a:prstGeom>
          </p:spPr>
        </p:pic>
        <p:pic>
          <p:nvPicPr>
            <p:cNvPr id="215" name="Picture Placeholder 2108" descr="A person standing in front of a building&#10;&#10;Description automatically generated">
              <a:extLst>
                <a:ext uri="{FF2B5EF4-FFF2-40B4-BE49-F238E27FC236}">
                  <a16:creationId xmlns:a16="http://schemas.microsoft.com/office/drawing/2014/main" id="{CCA8DF4F-BA33-470E-B9FF-B32D9FAE5C54}"/>
                </a:ext>
              </a:extLst>
            </p:cNvPr>
            <p:cNvPicPr>
              <a:picLocks noChangeAspect="1"/>
            </p:cNvPicPr>
            <p:nvPr/>
          </p:nvPicPr>
          <p:blipFill>
            <a:blip r:embed="rId31" cstate="print">
              <a:extLst>
                <a:ext uri="{28A0092B-C50C-407E-A947-70E740481C1C}">
                  <a14:useLocalDpi xmlns:a14="http://schemas.microsoft.com/office/drawing/2010/main"/>
                </a:ext>
              </a:extLst>
            </a:blip>
            <a:srcRect/>
            <a:stretch>
              <a:fillRect/>
            </a:stretch>
          </p:blipFill>
          <p:spPr>
            <a:xfrm>
              <a:off x="1520142" y="3420141"/>
              <a:ext cx="1527048" cy="1149886"/>
            </a:xfrm>
            <a:prstGeom prst="rect">
              <a:avLst/>
            </a:prstGeom>
          </p:spPr>
        </p:pic>
        <p:pic>
          <p:nvPicPr>
            <p:cNvPr id="217" name="Picture Placeholder 2104" descr="A large air plane on a cloudy day&#10;&#10;Description automatically generated">
              <a:extLst>
                <a:ext uri="{FF2B5EF4-FFF2-40B4-BE49-F238E27FC236}">
                  <a16:creationId xmlns:a16="http://schemas.microsoft.com/office/drawing/2014/main" id="{F311C4BB-339E-4104-950E-6986DD1B4BA8}"/>
                </a:ext>
              </a:extLst>
            </p:cNvPr>
            <p:cNvPicPr>
              <a:picLocks noChangeAspect="1"/>
            </p:cNvPicPr>
            <p:nvPr/>
          </p:nvPicPr>
          <p:blipFill>
            <a:blip r:embed="rId32" cstate="print">
              <a:extLst>
                <a:ext uri="{28A0092B-C50C-407E-A947-70E740481C1C}">
                  <a14:useLocalDpi xmlns:a14="http://schemas.microsoft.com/office/drawing/2010/main"/>
                </a:ext>
              </a:extLst>
            </a:blip>
            <a:srcRect/>
            <a:stretch>
              <a:fillRect/>
            </a:stretch>
          </p:blipFill>
          <p:spPr>
            <a:xfrm>
              <a:off x="4569498" y="3420141"/>
              <a:ext cx="1527048" cy="1149886"/>
            </a:xfrm>
            <a:prstGeom prst="rect">
              <a:avLst/>
            </a:prstGeom>
          </p:spPr>
        </p:pic>
        <p:pic>
          <p:nvPicPr>
            <p:cNvPr id="221" name="Picture Placeholder 2102">
              <a:extLst>
                <a:ext uri="{FF2B5EF4-FFF2-40B4-BE49-F238E27FC236}">
                  <a16:creationId xmlns:a16="http://schemas.microsoft.com/office/drawing/2014/main" id="{57FEE7B2-2A3D-42C3-BCA9-D207CA9F266A}"/>
                </a:ext>
              </a:extLst>
            </p:cNvPr>
            <p:cNvPicPr>
              <a:picLocks noChangeAspect="1"/>
            </p:cNvPicPr>
            <p:nvPr/>
          </p:nvPicPr>
          <p:blipFill rotWithShape="1">
            <a:blip r:embed="rId33" cstate="print">
              <a:extLst>
                <a:ext uri="{28A0092B-C50C-407E-A947-70E740481C1C}">
                  <a14:useLocalDpi xmlns:a14="http://schemas.microsoft.com/office/drawing/2010/main"/>
                </a:ext>
              </a:extLst>
            </a:blip>
            <a:srcRect/>
            <a:stretch/>
          </p:blipFill>
          <p:spPr>
            <a:xfrm>
              <a:off x="6094176" y="3419295"/>
              <a:ext cx="1527048" cy="1141096"/>
            </a:xfrm>
            <a:prstGeom prst="rect">
              <a:avLst/>
            </a:prstGeom>
          </p:spPr>
        </p:pic>
        <p:pic>
          <p:nvPicPr>
            <p:cNvPr id="228" name="Picture Placeholder 2098" descr="A car parked on the side of a road&#10;&#10;Description automatically generated">
              <a:extLst>
                <a:ext uri="{FF2B5EF4-FFF2-40B4-BE49-F238E27FC236}">
                  <a16:creationId xmlns:a16="http://schemas.microsoft.com/office/drawing/2014/main" id="{577A25D2-9183-495F-A0E7-F8D346A36EB7}"/>
                </a:ext>
              </a:extLst>
            </p:cNvPr>
            <p:cNvPicPr>
              <a:picLocks noChangeAspect="1"/>
            </p:cNvPicPr>
            <p:nvPr/>
          </p:nvPicPr>
          <p:blipFill>
            <a:blip r:embed="rId34" cstate="print">
              <a:extLst>
                <a:ext uri="{28A0092B-C50C-407E-A947-70E740481C1C}">
                  <a14:useLocalDpi xmlns:a14="http://schemas.microsoft.com/office/drawing/2010/main"/>
                </a:ext>
              </a:extLst>
            </a:blip>
            <a:srcRect/>
            <a:stretch>
              <a:fillRect/>
            </a:stretch>
          </p:blipFill>
          <p:spPr>
            <a:xfrm>
              <a:off x="9143532" y="3420141"/>
              <a:ext cx="1527048" cy="1149886"/>
            </a:xfrm>
            <a:prstGeom prst="rect">
              <a:avLst/>
            </a:prstGeom>
          </p:spPr>
        </p:pic>
        <p:pic>
          <p:nvPicPr>
            <p:cNvPr id="229" name="Picture Placeholder 2095" descr="A close up of a sign&#10;&#10;Description automatically generated">
              <a:extLst>
                <a:ext uri="{FF2B5EF4-FFF2-40B4-BE49-F238E27FC236}">
                  <a16:creationId xmlns:a16="http://schemas.microsoft.com/office/drawing/2014/main" id="{2A7E188A-6411-44FD-98C8-CD08C51F6DEB}"/>
                </a:ext>
              </a:extLst>
            </p:cNvPr>
            <p:cNvPicPr>
              <a:picLocks noChangeAspect="1"/>
            </p:cNvPicPr>
            <p:nvPr/>
          </p:nvPicPr>
          <p:blipFill>
            <a:blip r:embed="rId35" cstate="print">
              <a:extLst>
                <a:ext uri="{28A0092B-C50C-407E-A947-70E740481C1C}">
                  <a14:useLocalDpi xmlns:a14="http://schemas.microsoft.com/office/drawing/2010/main"/>
                </a:ext>
              </a:extLst>
            </a:blip>
            <a:srcRect/>
            <a:stretch>
              <a:fillRect/>
            </a:stretch>
          </p:blipFill>
          <p:spPr>
            <a:xfrm>
              <a:off x="10668208" y="3420141"/>
              <a:ext cx="1527048" cy="1149886"/>
            </a:xfrm>
            <a:prstGeom prst="rect">
              <a:avLst/>
            </a:prstGeom>
          </p:spPr>
        </p:pic>
        <p:pic>
          <p:nvPicPr>
            <p:cNvPr id="230" name="Picture Placeholder 640">
              <a:extLst>
                <a:ext uri="{FF2B5EF4-FFF2-40B4-BE49-F238E27FC236}">
                  <a16:creationId xmlns:a16="http://schemas.microsoft.com/office/drawing/2014/main" id="{3BBC4B42-4AD4-4177-8CB2-4B2C5907C23E}"/>
                </a:ext>
              </a:extLst>
            </p:cNvPr>
            <p:cNvPicPr>
              <a:picLocks noChangeAspect="1"/>
            </p:cNvPicPr>
            <p:nvPr/>
          </p:nvPicPr>
          <p:blipFill>
            <a:blip r:embed="rId36" cstate="print">
              <a:extLst>
                <a:ext uri="{28A0092B-C50C-407E-A947-70E740481C1C}">
                  <a14:useLocalDpi xmlns:a14="http://schemas.microsoft.com/office/drawing/2010/main"/>
                </a:ext>
              </a:extLst>
            </a:blip>
            <a:srcRect/>
            <a:stretch/>
          </p:blipFill>
          <p:spPr>
            <a:xfrm>
              <a:off x="-4536" y="4562326"/>
              <a:ext cx="1527048" cy="1145609"/>
            </a:xfrm>
            <a:prstGeom prst="rect">
              <a:avLst/>
            </a:prstGeom>
          </p:spPr>
        </p:pic>
        <p:pic>
          <p:nvPicPr>
            <p:cNvPr id="233" name="Picture Placeholder 645">
              <a:extLst>
                <a:ext uri="{FF2B5EF4-FFF2-40B4-BE49-F238E27FC236}">
                  <a16:creationId xmlns:a16="http://schemas.microsoft.com/office/drawing/2014/main" id="{55C18114-6ED5-4BCE-8C32-8CC15CF5A654}"/>
                </a:ext>
              </a:extLst>
            </p:cNvPr>
            <p:cNvPicPr>
              <a:picLocks noChangeAspect="1"/>
            </p:cNvPicPr>
            <p:nvPr/>
          </p:nvPicPr>
          <p:blipFill rotWithShape="1">
            <a:blip r:embed="rId37" cstate="print">
              <a:extLst>
                <a:ext uri="{28A0092B-C50C-407E-A947-70E740481C1C}">
                  <a14:useLocalDpi xmlns:a14="http://schemas.microsoft.com/office/drawing/2010/main"/>
                </a:ext>
              </a:extLst>
            </a:blip>
            <a:srcRect/>
            <a:stretch/>
          </p:blipFill>
          <p:spPr>
            <a:xfrm>
              <a:off x="1520142" y="4567972"/>
              <a:ext cx="1527048" cy="1133545"/>
            </a:xfrm>
            <a:prstGeom prst="rect">
              <a:avLst/>
            </a:prstGeom>
          </p:spPr>
        </p:pic>
        <p:pic>
          <p:nvPicPr>
            <p:cNvPr id="234" name="Picture Placeholder 643">
              <a:extLst>
                <a:ext uri="{FF2B5EF4-FFF2-40B4-BE49-F238E27FC236}">
                  <a16:creationId xmlns:a16="http://schemas.microsoft.com/office/drawing/2014/main" id="{61FC0E6D-C7E3-47A1-B7F7-EF7863B333C9}"/>
                </a:ext>
              </a:extLst>
            </p:cNvPr>
            <p:cNvPicPr>
              <a:picLocks noChangeAspect="1"/>
            </p:cNvPicPr>
            <p:nvPr/>
          </p:nvPicPr>
          <p:blipFill>
            <a:blip r:embed="rId38" cstate="print">
              <a:extLst>
                <a:ext uri="{28A0092B-C50C-407E-A947-70E740481C1C}">
                  <a14:useLocalDpi xmlns:a14="http://schemas.microsoft.com/office/drawing/2010/main"/>
                </a:ext>
              </a:extLst>
            </a:blip>
            <a:srcRect/>
            <a:stretch>
              <a:fillRect/>
            </a:stretch>
          </p:blipFill>
          <p:spPr>
            <a:xfrm>
              <a:off x="3044820" y="4560188"/>
              <a:ext cx="1527048" cy="1149886"/>
            </a:xfrm>
            <a:prstGeom prst="rect">
              <a:avLst/>
            </a:prstGeom>
          </p:spPr>
        </p:pic>
        <p:pic>
          <p:nvPicPr>
            <p:cNvPr id="236" name="Picture Placeholder 649" descr="A truck parked on the tarmac at an airport&#10;&#10;Description automatically generated">
              <a:extLst>
                <a:ext uri="{FF2B5EF4-FFF2-40B4-BE49-F238E27FC236}">
                  <a16:creationId xmlns:a16="http://schemas.microsoft.com/office/drawing/2014/main" id="{B8710653-8C11-4E36-AA5B-79A96314D32E}"/>
                </a:ext>
              </a:extLst>
            </p:cNvPr>
            <p:cNvPicPr>
              <a:picLocks noChangeAspect="1"/>
            </p:cNvPicPr>
            <p:nvPr/>
          </p:nvPicPr>
          <p:blipFill>
            <a:blip r:embed="rId39" cstate="print">
              <a:extLst>
                <a:ext uri="{28A0092B-C50C-407E-A947-70E740481C1C}">
                  <a14:useLocalDpi xmlns:a14="http://schemas.microsoft.com/office/drawing/2010/main"/>
                </a:ext>
              </a:extLst>
            </a:blip>
            <a:srcRect/>
            <a:stretch>
              <a:fillRect/>
            </a:stretch>
          </p:blipFill>
          <p:spPr>
            <a:xfrm>
              <a:off x="6094176" y="4560188"/>
              <a:ext cx="1527048" cy="1172018"/>
            </a:xfrm>
            <a:prstGeom prst="rect">
              <a:avLst/>
            </a:prstGeom>
          </p:spPr>
        </p:pic>
        <p:pic>
          <p:nvPicPr>
            <p:cNvPr id="237" name="Picture Placeholder 429">
              <a:extLst>
                <a:ext uri="{FF2B5EF4-FFF2-40B4-BE49-F238E27FC236}">
                  <a16:creationId xmlns:a16="http://schemas.microsoft.com/office/drawing/2014/main" id="{77EDD5B1-EFE8-4246-A7CA-147DE0B3CD97}"/>
                </a:ext>
              </a:extLst>
            </p:cNvPr>
            <p:cNvPicPr>
              <a:picLocks noChangeAspect="1"/>
            </p:cNvPicPr>
            <p:nvPr/>
          </p:nvPicPr>
          <p:blipFill rotWithShape="1">
            <a:blip r:embed="rId40" cstate="print">
              <a:extLst>
                <a:ext uri="{28A0092B-C50C-407E-A947-70E740481C1C}">
                  <a14:useLocalDpi xmlns:a14="http://schemas.microsoft.com/office/drawing/2010/main"/>
                </a:ext>
              </a:extLst>
            </a:blip>
            <a:srcRect l="4999" t="-184" r="5735" b="616"/>
            <a:stretch/>
          </p:blipFill>
          <p:spPr>
            <a:xfrm>
              <a:off x="9143532" y="4566505"/>
              <a:ext cx="1527048" cy="1136524"/>
            </a:xfrm>
            <a:prstGeom prst="rect">
              <a:avLst/>
            </a:prstGeom>
          </p:spPr>
        </p:pic>
        <p:pic>
          <p:nvPicPr>
            <p:cNvPr id="239" name="Picture Placeholder 655" descr="A person using a computer&#10;&#10;Description automatically generated">
              <a:extLst>
                <a:ext uri="{FF2B5EF4-FFF2-40B4-BE49-F238E27FC236}">
                  <a16:creationId xmlns:a16="http://schemas.microsoft.com/office/drawing/2014/main" id="{628FE7FA-8667-4BCD-BE68-289DD4B07A40}"/>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10668208" y="4560188"/>
              <a:ext cx="1527048" cy="1149886"/>
            </a:xfrm>
            <a:prstGeom prst="rect">
              <a:avLst/>
            </a:prstGeom>
          </p:spPr>
        </p:pic>
        <p:pic>
          <p:nvPicPr>
            <p:cNvPr id="240" name="Picture Placeholder 379">
              <a:extLst>
                <a:ext uri="{FF2B5EF4-FFF2-40B4-BE49-F238E27FC236}">
                  <a16:creationId xmlns:a16="http://schemas.microsoft.com/office/drawing/2014/main" id="{209AB7CD-672B-4AA7-ABFB-C9976B826399}"/>
                </a:ext>
              </a:extLst>
            </p:cNvPr>
            <p:cNvPicPr>
              <a:picLocks noChangeAspect="1"/>
            </p:cNvPicPr>
            <p:nvPr/>
          </p:nvPicPr>
          <p:blipFill rotWithShape="1">
            <a:blip r:embed="rId42" cstate="print">
              <a:extLst>
                <a:ext uri="{28A0092B-C50C-407E-A947-70E740481C1C}">
                  <a14:useLocalDpi xmlns:a14="http://schemas.microsoft.com/office/drawing/2010/main"/>
                </a:ext>
              </a:extLst>
            </a:blip>
            <a:srcRect/>
            <a:stretch/>
          </p:blipFill>
          <p:spPr>
            <a:xfrm>
              <a:off x="-14708" y="5708875"/>
              <a:ext cx="1537220" cy="1154041"/>
            </a:xfrm>
            <a:prstGeom prst="rect">
              <a:avLst/>
            </a:prstGeom>
          </p:spPr>
        </p:pic>
        <p:pic>
          <p:nvPicPr>
            <p:cNvPr id="241" name="Picture Placeholder 387" descr="A close up of a busy city street&#10;&#10;Description automatically generated">
              <a:extLst>
                <a:ext uri="{FF2B5EF4-FFF2-40B4-BE49-F238E27FC236}">
                  <a16:creationId xmlns:a16="http://schemas.microsoft.com/office/drawing/2014/main" id="{220200A7-572E-443D-8256-058704E4F849}"/>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1520142" y="5700234"/>
              <a:ext cx="1527048" cy="1161288"/>
            </a:xfrm>
            <a:prstGeom prst="rect">
              <a:avLst/>
            </a:prstGeom>
          </p:spPr>
        </p:pic>
        <p:pic>
          <p:nvPicPr>
            <p:cNvPr id="243" name="Picture Placeholder 388">
              <a:extLst>
                <a:ext uri="{FF2B5EF4-FFF2-40B4-BE49-F238E27FC236}">
                  <a16:creationId xmlns:a16="http://schemas.microsoft.com/office/drawing/2014/main" id="{0FEACFCB-8A3D-4E02-9BE7-73A7A3989D87}"/>
                </a:ext>
              </a:extLst>
            </p:cNvPr>
            <p:cNvPicPr>
              <a:picLocks noChangeAspect="1"/>
            </p:cNvPicPr>
            <p:nvPr/>
          </p:nvPicPr>
          <p:blipFill rotWithShape="1">
            <a:blip r:embed="rId44" cstate="print">
              <a:extLst>
                <a:ext uri="{28A0092B-C50C-407E-A947-70E740481C1C}">
                  <a14:useLocalDpi xmlns:a14="http://schemas.microsoft.com/office/drawing/2010/main"/>
                </a:ext>
              </a:extLst>
            </a:blip>
            <a:srcRect/>
            <a:stretch/>
          </p:blipFill>
          <p:spPr>
            <a:xfrm>
              <a:off x="3044126" y="5703094"/>
              <a:ext cx="1542450" cy="1154906"/>
            </a:xfrm>
            <a:prstGeom prst="rect">
              <a:avLst/>
            </a:prstGeom>
          </p:spPr>
        </p:pic>
        <p:pic>
          <p:nvPicPr>
            <p:cNvPr id="245" name="Picture Placeholder 389">
              <a:extLst>
                <a:ext uri="{FF2B5EF4-FFF2-40B4-BE49-F238E27FC236}">
                  <a16:creationId xmlns:a16="http://schemas.microsoft.com/office/drawing/2014/main" id="{847EF2BA-00ED-4978-B63F-E6D0458FB684}"/>
                </a:ext>
              </a:extLst>
            </p:cNvPr>
            <p:cNvPicPr>
              <a:picLocks noChangeAspect="1"/>
            </p:cNvPicPr>
            <p:nvPr/>
          </p:nvPicPr>
          <p:blipFill rotWithShape="1">
            <a:blip r:embed="rId45" cstate="print">
              <a:extLst>
                <a:ext uri="{28A0092B-C50C-407E-A947-70E740481C1C}">
                  <a14:useLocalDpi xmlns:a14="http://schemas.microsoft.com/office/drawing/2010/main"/>
                </a:ext>
              </a:extLst>
            </a:blip>
            <a:srcRect t="-879"/>
            <a:stretch/>
          </p:blipFill>
          <p:spPr>
            <a:xfrm>
              <a:off x="4571823" y="5696713"/>
              <a:ext cx="1530841" cy="1161287"/>
            </a:xfrm>
            <a:prstGeom prst="rect">
              <a:avLst/>
            </a:prstGeom>
          </p:spPr>
        </p:pic>
        <p:pic>
          <p:nvPicPr>
            <p:cNvPr id="249" name="Picture Placeholder 391" descr="A person wearing a hat and sunglasses&#10;&#10;Description automatically generated">
              <a:extLst>
                <a:ext uri="{FF2B5EF4-FFF2-40B4-BE49-F238E27FC236}">
                  <a16:creationId xmlns:a16="http://schemas.microsoft.com/office/drawing/2014/main" id="{0D975617-9A0C-463D-88AA-7D4508500387}"/>
                </a:ext>
              </a:extLst>
            </p:cNvPr>
            <p:cNvPicPr>
              <a:picLocks noChangeAspect="1"/>
            </p:cNvPicPr>
            <p:nvPr/>
          </p:nvPicPr>
          <p:blipFill rotWithShape="1">
            <a:blip r:embed="rId46" cstate="print">
              <a:extLst>
                <a:ext uri="{28A0092B-C50C-407E-A947-70E740481C1C}">
                  <a14:useLocalDpi xmlns:a14="http://schemas.microsoft.com/office/drawing/2010/main"/>
                </a:ext>
              </a:extLst>
            </a:blip>
            <a:srcRect/>
            <a:stretch/>
          </p:blipFill>
          <p:spPr>
            <a:xfrm>
              <a:off x="7618854" y="5700234"/>
              <a:ext cx="1527048" cy="1161288"/>
            </a:xfrm>
            <a:prstGeom prst="rect">
              <a:avLst/>
            </a:prstGeom>
          </p:spPr>
        </p:pic>
        <p:pic>
          <p:nvPicPr>
            <p:cNvPr id="250" name="Picture Placeholder 663" descr="A picture containing cup, sitting, table&#10;&#10;Description automatically generated">
              <a:extLst>
                <a:ext uri="{FF2B5EF4-FFF2-40B4-BE49-F238E27FC236}">
                  <a16:creationId xmlns:a16="http://schemas.microsoft.com/office/drawing/2014/main" id="{A9DD3D38-ACB5-4442-A113-945FA4E0B720}"/>
                </a:ext>
              </a:extLst>
            </p:cNvPr>
            <p:cNvPicPr>
              <a:picLocks noChangeAspect="1"/>
            </p:cNvPicPr>
            <p:nvPr/>
          </p:nvPicPr>
          <p:blipFill>
            <a:blip r:embed="rId47" cstate="print">
              <a:extLst>
                <a:ext uri="{28A0092B-C50C-407E-A947-70E740481C1C}">
                  <a14:useLocalDpi xmlns:a14="http://schemas.microsoft.com/office/drawing/2010/main"/>
                </a:ext>
              </a:extLst>
            </a:blip>
            <a:srcRect/>
            <a:stretch>
              <a:fillRect/>
            </a:stretch>
          </p:blipFill>
          <p:spPr>
            <a:xfrm>
              <a:off x="9143532" y="5700234"/>
              <a:ext cx="1527048" cy="1161288"/>
            </a:xfrm>
            <a:prstGeom prst="rect">
              <a:avLst/>
            </a:prstGeom>
          </p:spPr>
        </p:pic>
        <p:pic>
          <p:nvPicPr>
            <p:cNvPr id="251" name="Picture Placeholder 661">
              <a:extLst>
                <a:ext uri="{FF2B5EF4-FFF2-40B4-BE49-F238E27FC236}">
                  <a16:creationId xmlns:a16="http://schemas.microsoft.com/office/drawing/2014/main" id="{3308B296-3756-41F8-B20E-CECD61D56CB0}"/>
                </a:ext>
              </a:extLst>
            </p:cNvPr>
            <p:cNvPicPr>
              <a:picLocks noChangeAspect="1"/>
            </p:cNvPicPr>
            <p:nvPr/>
          </p:nvPicPr>
          <p:blipFill rotWithShape="1">
            <a:blip r:embed="rId48" cstate="print">
              <a:extLst>
                <a:ext uri="{28A0092B-C50C-407E-A947-70E740481C1C}">
                  <a14:useLocalDpi xmlns:a14="http://schemas.microsoft.com/office/drawing/2010/main"/>
                </a:ext>
              </a:extLst>
            </a:blip>
            <a:srcRect/>
            <a:stretch/>
          </p:blipFill>
          <p:spPr>
            <a:xfrm>
              <a:off x="10668208" y="5706551"/>
              <a:ext cx="1527048" cy="1151449"/>
            </a:xfrm>
            <a:prstGeom prst="rect">
              <a:avLst/>
            </a:prstGeom>
          </p:spPr>
        </p:pic>
        <p:pic>
          <p:nvPicPr>
            <p:cNvPr id="222" name="Picture Placeholder 2100">
              <a:extLst>
                <a:ext uri="{FF2B5EF4-FFF2-40B4-BE49-F238E27FC236}">
                  <a16:creationId xmlns:a16="http://schemas.microsoft.com/office/drawing/2014/main" id="{E5A1437C-1013-42D2-9E8E-3ACA23830F4C}"/>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a:stretch/>
          </p:blipFill>
          <p:spPr>
            <a:xfrm>
              <a:off x="4567127" y="4560991"/>
              <a:ext cx="1527048" cy="1145560"/>
            </a:xfrm>
            <a:prstGeom prst="rect">
              <a:avLst/>
            </a:prstGeom>
          </p:spPr>
        </p:pic>
        <p:cxnSp>
          <p:nvCxnSpPr>
            <p:cNvPr id="152" name="Straight Connector 151">
              <a:extLst>
                <a:ext uri="{FF2B5EF4-FFF2-40B4-BE49-F238E27FC236}">
                  <a16:creationId xmlns:a16="http://schemas.microsoft.com/office/drawing/2014/main" id="{E42ACBC6-B16A-4480-BF0C-FF551FDD8D0A}"/>
                </a:ext>
              </a:extLst>
            </p:cNvPr>
            <p:cNvCxnSpPr>
              <a:cxnSpLocks/>
            </p:cNvCxnSpPr>
            <p:nvPr/>
          </p:nvCxnSpPr>
          <p:spPr>
            <a:xfrm>
              <a:off x="0" y="3429000"/>
              <a:ext cx="2877168" cy="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 name="Straight Connector 153">
              <a:extLst>
                <a:ext uri="{FF2B5EF4-FFF2-40B4-BE49-F238E27FC236}">
                  <a16:creationId xmlns:a16="http://schemas.microsoft.com/office/drawing/2014/main" id="{33547DAE-BA5E-45F5-B331-B2B2A684D2EE}"/>
                </a:ext>
              </a:extLst>
            </p:cNvPr>
            <p:cNvCxnSpPr>
              <a:cxnSpLocks/>
            </p:cNvCxnSpPr>
            <p:nvPr/>
          </p:nvCxnSpPr>
          <p:spPr>
            <a:xfrm flipV="1">
              <a:off x="9314832" y="3416620"/>
              <a:ext cx="2877168" cy="1238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35" name="Picture Placeholder 647" descr="A group of people posing for the camera&#10;&#10;Description automatically generated">
              <a:extLst>
                <a:ext uri="{FF2B5EF4-FFF2-40B4-BE49-F238E27FC236}">
                  <a16:creationId xmlns:a16="http://schemas.microsoft.com/office/drawing/2014/main" id="{F71F52FD-DF93-4DE4-AAB8-36ABBA94218F}"/>
                </a:ext>
              </a:extLst>
            </p:cNvPr>
            <p:cNvPicPr>
              <a:picLocks noChangeAspect="1"/>
            </p:cNvPicPr>
            <p:nvPr/>
          </p:nvPicPr>
          <p:blipFill>
            <a:blip r:embed="rId50" cstate="print">
              <a:extLst>
                <a:ext uri="{28A0092B-C50C-407E-A947-70E740481C1C}">
                  <a14:useLocalDpi xmlns:a14="http://schemas.microsoft.com/office/drawing/2010/main"/>
                </a:ext>
              </a:extLst>
            </a:blip>
            <a:srcRect/>
            <a:stretch>
              <a:fillRect/>
            </a:stretch>
          </p:blipFill>
          <p:spPr>
            <a:xfrm>
              <a:off x="6092992" y="5711636"/>
              <a:ext cx="1527048" cy="1149886"/>
            </a:xfrm>
            <a:prstGeom prst="rect">
              <a:avLst/>
            </a:prstGeom>
          </p:spPr>
        </p:pic>
      </p:grpSp>
      <p:pic>
        <p:nvPicPr>
          <p:cNvPr id="2" name="Picture Placeholder 374" descr="A car parked in a parking lot&#10;&#10;Description automatically generated">
            <a:extLst>
              <a:ext uri="{FF2B5EF4-FFF2-40B4-BE49-F238E27FC236}">
                <a16:creationId xmlns:a16="http://schemas.microsoft.com/office/drawing/2014/main" id="{B19175F7-FC73-40DA-BEBC-5672C9789102}"/>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703207" y="-16566"/>
            <a:ext cx="1145286" cy="862415"/>
          </a:xfrm>
          <a:prstGeom prst="rect">
            <a:avLst/>
          </a:prstGeom>
        </p:spPr>
      </p:pic>
      <p:sp>
        <p:nvSpPr>
          <p:cNvPr id="130" name="gradient">
            <a:extLst>
              <a:ext uri="{FF2B5EF4-FFF2-40B4-BE49-F238E27FC236}">
                <a16:creationId xmlns:a16="http://schemas.microsoft.com/office/drawing/2014/main" id="{396A74B0-277E-45CE-AF61-8A0006CD5267}"/>
              </a:ext>
              <a:ext uri="{C183D7F6-B498-43B3-948B-1728B52AA6E4}">
                <adec:decorative xmlns:adec="http://schemas.microsoft.com/office/drawing/2017/decorative" val="1"/>
              </a:ext>
            </a:extLst>
          </p:cNvPr>
          <p:cNvSpPr/>
          <p:nvPr/>
        </p:nvSpPr>
        <p:spPr bwMode="auto">
          <a:xfrm>
            <a:off x="-8926" y="-13377"/>
            <a:ext cx="9161679" cy="5157213"/>
          </a:xfrm>
          <a:prstGeom prst="rect">
            <a:avLst/>
          </a:prstGeom>
          <a:solidFill>
            <a:schemeClr val="tx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Single Corner Snipped 3">
            <a:extLst>
              <a:ext uri="{FF2B5EF4-FFF2-40B4-BE49-F238E27FC236}">
                <a16:creationId xmlns:a16="http://schemas.microsoft.com/office/drawing/2014/main" id="{63C7BBEE-D3D6-4138-9CD4-344FDA8380E2}"/>
              </a:ext>
            </a:extLst>
          </p:cNvPr>
          <p:cNvSpPr/>
          <p:nvPr/>
        </p:nvSpPr>
        <p:spPr bwMode="auto">
          <a:xfrm>
            <a:off x="1159126" y="4271162"/>
            <a:ext cx="6851273" cy="627794"/>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7" name="TextBox 6">
            <a:extLst>
              <a:ext uri="{FF2B5EF4-FFF2-40B4-BE49-F238E27FC236}">
                <a16:creationId xmlns:a16="http://schemas.microsoft.com/office/drawing/2014/main" id="{D1C0B77B-AF3E-45D3-8E99-55CA66B9D99B}"/>
              </a:ext>
            </a:extLst>
          </p:cNvPr>
          <p:cNvSpPr txBox="1"/>
          <p:nvPr/>
        </p:nvSpPr>
        <p:spPr>
          <a:xfrm>
            <a:off x="1439974" y="4465425"/>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he largest global footprint</a:t>
            </a:r>
          </a:p>
        </p:txBody>
      </p:sp>
      <p:sp>
        <p:nvSpPr>
          <p:cNvPr id="613" name="TextBox 612">
            <a:extLst>
              <a:ext uri="{FF2B5EF4-FFF2-40B4-BE49-F238E27FC236}">
                <a16:creationId xmlns:a16="http://schemas.microsoft.com/office/drawing/2014/main" id="{9F668B5F-1818-4CE3-91DC-0BCF67836DFB}"/>
              </a:ext>
            </a:extLst>
          </p:cNvPr>
          <p:cNvSpPr txBox="1"/>
          <p:nvPr/>
        </p:nvSpPr>
        <p:spPr>
          <a:xfrm>
            <a:off x="4409910" y="4312018"/>
            <a:ext cx="3178504"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lin ang="2700000" scaled="1"/>
                </a:gradFill>
                <a:cs typeface="Segoe UI Light" panose="020B0502040204020203" pitchFamily="34" charset="0"/>
              </a:rPr>
              <a:t>Built entirely on Azure, with 50+ data centers worldwide, over 40 languages, and national cloud support for the US Government, China and Germany. Enterprise grade security and compliance including support for Lockbox, CMK, private </a:t>
            </a:r>
            <a:r>
              <a:rPr lang="en-US" sz="788" dirty="0" err="1">
                <a:gradFill>
                  <a:gsLst>
                    <a:gs pos="82000">
                      <a:schemeClr val="bg1"/>
                    </a:gs>
                    <a:gs pos="0">
                      <a:schemeClr val="bg1"/>
                    </a:gs>
                  </a:gsLst>
                  <a:lin ang="2700000" scaled="1"/>
                </a:gradFill>
                <a:cs typeface="Segoe UI Light" panose="020B0502040204020203" pitchFamily="34" charset="0"/>
              </a:rPr>
              <a:t>vnet</a:t>
            </a:r>
            <a:r>
              <a:rPr lang="en-US" sz="788" dirty="0">
                <a:gradFill>
                  <a:gsLst>
                    <a:gs pos="82000">
                      <a:schemeClr val="bg1"/>
                    </a:gs>
                    <a:gs pos="0">
                      <a:schemeClr val="bg1"/>
                    </a:gs>
                  </a:gsLst>
                  <a:lin ang="2700000" scaled="1"/>
                </a:gradFill>
                <a:cs typeface="Segoe UI Light" panose="020B0502040204020203" pitchFamily="34" charset="0"/>
              </a:rPr>
              <a:t> etc.</a:t>
            </a:r>
          </a:p>
        </p:txBody>
      </p:sp>
      <p:sp>
        <p:nvSpPr>
          <p:cNvPr id="601" name="Rectangle: Single Corner Snipped 600">
            <a:extLst>
              <a:ext uri="{FF2B5EF4-FFF2-40B4-BE49-F238E27FC236}">
                <a16:creationId xmlns:a16="http://schemas.microsoft.com/office/drawing/2014/main" id="{8FAFA426-5AD0-4537-BD38-612998B4FF23}"/>
              </a:ext>
            </a:extLst>
          </p:cNvPr>
          <p:cNvSpPr/>
          <p:nvPr/>
        </p:nvSpPr>
        <p:spPr bwMode="auto">
          <a:xfrm>
            <a:off x="1159126" y="3594122"/>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2" name="TextBox 601">
            <a:extLst>
              <a:ext uri="{FF2B5EF4-FFF2-40B4-BE49-F238E27FC236}">
                <a16:creationId xmlns:a16="http://schemas.microsoft.com/office/drawing/2014/main" id="{88BEDE0A-05A3-4D7C-9F10-0B546BD9CA2A}"/>
              </a:ext>
            </a:extLst>
          </p:cNvPr>
          <p:cNvSpPr txBox="1"/>
          <p:nvPr/>
        </p:nvSpPr>
        <p:spPr>
          <a:xfrm>
            <a:off x="1439974" y="381056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enant level access control</a:t>
            </a:r>
          </a:p>
        </p:txBody>
      </p:sp>
      <p:sp>
        <p:nvSpPr>
          <p:cNvPr id="603" name="TextBox 602">
            <a:extLst>
              <a:ext uri="{FF2B5EF4-FFF2-40B4-BE49-F238E27FC236}">
                <a16:creationId xmlns:a16="http://schemas.microsoft.com/office/drawing/2014/main" id="{BDF30011-0CD9-47EB-AB9E-4BEB23749D30}"/>
              </a:ext>
            </a:extLst>
          </p:cNvPr>
          <p:cNvSpPr txBox="1"/>
          <p:nvPr/>
        </p:nvSpPr>
        <p:spPr>
          <a:xfrm>
            <a:off x="4422684" y="3633497"/>
            <a:ext cx="3429000"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Native integration to Azure Active Directory provides build in support for conditional access to the Power Platform for all users in AAD plus Power Platform specific service admins roles and tenant isolation capability for AAD authorized connections</a:t>
            </a:r>
          </a:p>
        </p:txBody>
      </p:sp>
      <p:sp>
        <p:nvSpPr>
          <p:cNvPr id="604" name="Rectangle: Single Corner Snipped 603">
            <a:extLst>
              <a:ext uri="{FF2B5EF4-FFF2-40B4-BE49-F238E27FC236}">
                <a16:creationId xmlns:a16="http://schemas.microsoft.com/office/drawing/2014/main" id="{97C1733D-C0F9-4789-9BDB-E463FF1256A1}"/>
              </a:ext>
            </a:extLst>
          </p:cNvPr>
          <p:cNvSpPr/>
          <p:nvPr/>
        </p:nvSpPr>
        <p:spPr bwMode="auto">
          <a:xfrm>
            <a:off x="1159126" y="2917083"/>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5" name="TextBox 604">
            <a:extLst>
              <a:ext uri="{FF2B5EF4-FFF2-40B4-BE49-F238E27FC236}">
                <a16:creationId xmlns:a16="http://schemas.microsoft.com/office/drawing/2014/main" id="{79A06687-ED7C-403B-9C53-C8DCAF26F4AA}"/>
              </a:ext>
            </a:extLst>
          </p:cNvPr>
          <p:cNvSpPr txBox="1"/>
          <p:nvPr/>
        </p:nvSpPr>
        <p:spPr>
          <a:xfrm>
            <a:off x="1423397" y="313352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Environment isolation</a:t>
            </a:r>
          </a:p>
        </p:txBody>
      </p:sp>
      <p:sp>
        <p:nvSpPr>
          <p:cNvPr id="606" name="TextBox 605">
            <a:extLst>
              <a:ext uri="{FF2B5EF4-FFF2-40B4-BE49-F238E27FC236}">
                <a16:creationId xmlns:a16="http://schemas.microsoft.com/office/drawing/2014/main" id="{57BF4684-F35B-4D3E-97A4-4D686FB88FCA}"/>
              </a:ext>
            </a:extLst>
          </p:cNvPr>
          <p:cNvSpPr txBox="1"/>
          <p:nvPr/>
        </p:nvSpPr>
        <p:spPr>
          <a:xfrm>
            <a:off x="4406106" y="3002155"/>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Environments—also known as management containers—have built-in security roles that provide access control within an environment. All policies and settings can be managed at the environment boundary.</a:t>
            </a:r>
          </a:p>
        </p:txBody>
      </p:sp>
      <p:sp>
        <p:nvSpPr>
          <p:cNvPr id="609" name="Rectangle: Single Corner Snipped 608">
            <a:extLst>
              <a:ext uri="{FF2B5EF4-FFF2-40B4-BE49-F238E27FC236}">
                <a16:creationId xmlns:a16="http://schemas.microsoft.com/office/drawing/2014/main" id="{12395231-5214-4CCF-8C78-D2C88DE0FB8B}"/>
              </a:ext>
            </a:extLst>
          </p:cNvPr>
          <p:cNvSpPr/>
          <p:nvPr/>
        </p:nvSpPr>
        <p:spPr bwMode="auto">
          <a:xfrm>
            <a:off x="1159126" y="88596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ea typeface="Segoe UI" pitchFamily="34" charset="0"/>
              <a:cs typeface="Segoe UI" pitchFamily="34" charset="0"/>
            </a:endParaRPr>
          </a:p>
        </p:txBody>
      </p:sp>
      <p:sp>
        <p:nvSpPr>
          <p:cNvPr id="610" name="TextBox 609">
            <a:extLst>
              <a:ext uri="{FF2B5EF4-FFF2-40B4-BE49-F238E27FC236}">
                <a16:creationId xmlns:a16="http://schemas.microsoft.com/office/drawing/2014/main" id="{E3C89205-B021-42D6-889D-6FB43ACB5D31}"/>
              </a:ext>
            </a:extLst>
          </p:cNvPr>
          <p:cNvSpPr txBox="1"/>
          <p:nvPr/>
        </p:nvSpPr>
        <p:spPr>
          <a:xfrm>
            <a:off x="1439974" y="1102409"/>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Resource-level security</a:t>
            </a:r>
          </a:p>
        </p:txBody>
      </p:sp>
      <p:sp>
        <p:nvSpPr>
          <p:cNvPr id="612" name="TextBox 611">
            <a:extLst>
              <a:ext uri="{FF2B5EF4-FFF2-40B4-BE49-F238E27FC236}">
                <a16:creationId xmlns:a16="http://schemas.microsoft.com/office/drawing/2014/main" id="{F2CBCBF0-ED93-4365-BEDE-7CC61D4AEA1E}"/>
              </a:ext>
            </a:extLst>
          </p:cNvPr>
          <p:cNvSpPr txBox="1"/>
          <p:nvPr/>
        </p:nvSpPr>
        <p:spPr>
          <a:xfrm>
            <a:off x="4406110" y="1049363"/>
            <a:ext cx="3429000" cy="334835"/>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Resource level permissions allows for control of user privileges </a:t>
            </a:r>
            <a:br>
              <a:rPr lang="en-US" sz="788" dirty="0">
                <a:gradFill>
                  <a:gsLst>
                    <a:gs pos="82000">
                      <a:schemeClr val="bg1"/>
                    </a:gs>
                    <a:gs pos="0">
                      <a:schemeClr val="bg1"/>
                    </a:gs>
                  </a:gsLst>
                </a:gradFill>
                <a:cs typeface="Segoe UI Light" panose="020B0502040204020203" pitchFamily="34" charset="0"/>
              </a:rPr>
            </a:br>
            <a:r>
              <a:rPr lang="en-US" sz="788" dirty="0">
                <a:gradFill>
                  <a:gsLst>
                    <a:gs pos="82000">
                      <a:schemeClr val="bg1"/>
                    </a:gs>
                    <a:gs pos="0">
                      <a:schemeClr val="bg1"/>
                    </a:gs>
                  </a:gsLst>
                </a:gradFill>
                <a:cs typeface="Segoe UI Light" panose="020B0502040204020203" pitchFamily="34" charset="0"/>
              </a:rPr>
              <a:t>to create resources like apps, flows, custom connectors, connections etc.</a:t>
            </a:r>
            <a:endParaRPr lang="en-US" sz="788" b="1" dirty="0">
              <a:gradFill>
                <a:gsLst>
                  <a:gs pos="82000">
                    <a:schemeClr val="bg1"/>
                  </a:gs>
                  <a:gs pos="0">
                    <a:schemeClr val="bg1"/>
                  </a:gs>
                </a:gsLst>
              </a:gradFill>
              <a:cs typeface="Segoe UI Semibold" panose="020B0502040204020203" pitchFamily="34" charset="0"/>
            </a:endParaRPr>
          </a:p>
        </p:txBody>
      </p:sp>
      <p:sp>
        <p:nvSpPr>
          <p:cNvPr id="607" name="Rectangle: Single Corner Snipped 606">
            <a:extLst>
              <a:ext uri="{FF2B5EF4-FFF2-40B4-BE49-F238E27FC236}">
                <a16:creationId xmlns:a16="http://schemas.microsoft.com/office/drawing/2014/main" id="{16BB5D3B-DDC1-45C1-BEF3-5066E6600A21}"/>
              </a:ext>
            </a:extLst>
          </p:cNvPr>
          <p:cNvSpPr/>
          <p:nvPr/>
        </p:nvSpPr>
        <p:spPr bwMode="auto">
          <a:xfrm>
            <a:off x="1159126" y="2240044"/>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8" name="TextBox 607">
            <a:extLst>
              <a:ext uri="{FF2B5EF4-FFF2-40B4-BE49-F238E27FC236}">
                <a16:creationId xmlns:a16="http://schemas.microsoft.com/office/drawing/2014/main" id="{A84A8BC6-07FD-44FB-9DB7-CD675B6D0D70}"/>
              </a:ext>
            </a:extLst>
          </p:cNvPr>
          <p:cNvSpPr txBox="1"/>
          <p:nvPr/>
        </p:nvSpPr>
        <p:spPr>
          <a:xfrm>
            <a:off x="1439974" y="2456487"/>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DS Role-Based Access Control</a:t>
            </a:r>
          </a:p>
        </p:txBody>
      </p:sp>
      <p:sp>
        <p:nvSpPr>
          <p:cNvPr id="611" name="TextBox 610">
            <a:extLst>
              <a:ext uri="{FF2B5EF4-FFF2-40B4-BE49-F238E27FC236}">
                <a16:creationId xmlns:a16="http://schemas.microsoft.com/office/drawing/2014/main" id="{DC1D9028-BBA1-40D6-BFDB-9341130A2061}"/>
              </a:ext>
            </a:extLst>
          </p:cNvPr>
          <p:cNvSpPr txBox="1"/>
          <p:nvPr/>
        </p:nvSpPr>
        <p:spPr>
          <a:xfrm>
            <a:off x="4406107" y="2345121"/>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Common Data Service, offers a wealth of rich business logic including a powerful security model, where role-based security can group together collection of privileges and allows for record and field level security </a:t>
            </a:r>
          </a:p>
        </p:txBody>
      </p:sp>
      <p:sp>
        <p:nvSpPr>
          <p:cNvPr id="557" name="Rectangle: Single Corner Snipped 556">
            <a:extLst>
              <a:ext uri="{FF2B5EF4-FFF2-40B4-BE49-F238E27FC236}">
                <a16:creationId xmlns:a16="http://schemas.microsoft.com/office/drawing/2014/main" id="{6AE1ABEF-93BB-4857-9C0F-692C24FE4EF9}"/>
              </a:ext>
            </a:extLst>
          </p:cNvPr>
          <p:cNvSpPr/>
          <p:nvPr/>
        </p:nvSpPr>
        <p:spPr bwMode="auto">
          <a:xfrm>
            <a:off x="1159126" y="156300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558" name="TextBox 557">
            <a:extLst>
              <a:ext uri="{FF2B5EF4-FFF2-40B4-BE49-F238E27FC236}">
                <a16:creationId xmlns:a16="http://schemas.microsoft.com/office/drawing/2014/main" id="{EDE7CED5-8C69-432F-8CB0-B1E30468E1C6}"/>
              </a:ext>
            </a:extLst>
          </p:cNvPr>
          <p:cNvSpPr txBox="1"/>
          <p:nvPr/>
        </p:nvSpPr>
        <p:spPr>
          <a:xfrm>
            <a:off x="1444793" y="1790972"/>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onnection security and DLP</a:t>
            </a:r>
          </a:p>
        </p:txBody>
      </p:sp>
      <p:sp>
        <p:nvSpPr>
          <p:cNvPr id="559" name="TextBox 558">
            <a:extLst>
              <a:ext uri="{FF2B5EF4-FFF2-40B4-BE49-F238E27FC236}">
                <a16:creationId xmlns:a16="http://schemas.microsoft.com/office/drawing/2014/main" id="{86E7E1AA-2EAD-475C-9D83-8CD38BEFA788}"/>
              </a:ext>
            </a:extLst>
          </p:cNvPr>
          <p:cNvSpPr txBox="1"/>
          <p:nvPr/>
        </p:nvSpPr>
        <p:spPr>
          <a:xfrm>
            <a:off x="4410497" y="1675196"/>
            <a:ext cx="3429000" cy="456087"/>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Connection authentication and authorization in user context as well as extensive data loss prevention provisions at connector and content level. Additional provisions for gateway security and email exfiltration controls.</a:t>
            </a:r>
            <a:endParaRPr lang="en-US" sz="788" b="1" dirty="0">
              <a:gradFill>
                <a:gsLst>
                  <a:gs pos="82000">
                    <a:schemeClr val="bg1"/>
                  </a:gs>
                  <a:gs pos="0">
                    <a:schemeClr val="bg1"/>
                  </a:gs>
                </a:gsLst>
              </a:gradFill>
              <a:cs typeface="Segoe UI Semibold" panose="020B0502040204020203" pitchFamily="34" charset="0"/>
            </a:endParaRPr>
          </a:p>
        </p:txBody>
      </p:sp>
      <p:sp>
        <p:nvSpPr>
          <p:cNvPr id="5" name="Title 4">
            <a:extLst>
              <a:ext uri="{FF2B5EF4-FFF2-40B4-BE49-F238E27FC236}">
                <a16:creationId xmlns:a16="http://schemas.microsoft.com/office/drawing/2014/main" id="{5D29E123-C5FB-412E-BFC9-65A458E0583B}"/>
              </a:ext>
            </a:extLst>
          </p:cNvPr>
          <p:cNvSpPr>
            <a:spLocks noGrp="1"/>
          </p:cNvSpPr>
          <p:nvPr>
            <p:ph type="title"/>
          </p:nvPr>
        </p:nvSpPr>
        <p:spPr>
          <a:xfrm>
            <a:off x="441197" y="342900"/>
            <a:ext cx="8263890" cy="415499"/>
          </a:xfrm>
        </p:spPr>
        <p:txBody>
          <a:bodyPr/>
          <a:lstStyle/>
          <a:p>
            <a:r>
              <a:rPr lang="en-US" dirty="0">
                <a:gradFill flip="none" rotWithShape="1">
                  <a:gsLst>
                    <a:gs pos="82000">
                      <a:schemeClr val="bg1"/>
                    </a:gs>
                    <a:gs pos="1000">
                      <a:schemeClr val="bg1"/>
                    </a:gs>
                  </a:gsLst>
                  <a:lin ang="2700000" scaled="1"/>
                  <a:tileRect/>
                </a:gradFill>
              </a:rPr>
              <a:t>Trust built in at every level</a:t>
            </a:r>
          </a:p>
        </p:txBody>
      </p:sp>
    </p:spTree>
    <p:extLst>
      <p:ext uri="{BB962C8B-B14F-4D97-AF65-F5344CB8AC3E}">
        <p14:creationId xmlns:p14="http://schemas.microsoft.com/office/powerpoint/2010/main" val="169866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9C127-428D-4FD1-9E6F-9E0F9603C278}"/>
              </a:ext>
            </a:extLst>
          </p:cNvPr>
          <p:cNvSpPr>
            <a:spLocks noGrp="1"/>
          </p:cNvSpPr>
          <p:nvPr>
            <p:ph type="title"/>
          </p:nvPr>
        </p:nvSpPr>
        <p:spPr>
          <a:xfrm>
            <a:off x="363780" y="467548"/>
            <a:ext cx="8479852" cy="307777"/>
          </a:xfrm>
        </p:spPr>
        <p:txBody>
          <a:bodyPr/>
          <a:lstStyle/>
          <a:p>
            <a:pPr defTabSz="685644">
              <a:defRPr/>
            </a:pPr>
            <a:r>
              <a:rPr lang="en-US" sz="2100">
                <a:latin typeface="Segoe UI Semibold"/>
              </a:rPr>
              <a:t>Security is built into every layer of the stack.</a:t>
            </a:r>
          </a:p>
        </p:txBody>
      </p:sp>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1069694"/>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3265067" cy="238613"/>
            </a:xfrm>
            <a:prstGeom prst="rect">
              <a:avLst/>
            </a:prstGeom>
            <a:noFill/>
          </p:spPr>
          <p:txBody>
            <a:bodyPr wrap="square" lIns="0" tIns="0" rIns="0" bIns="0" rtlCol="0" anchor="t">
              <a:spAutoFit/>
            </a:bodyPr>
            <a:lstStyle/>
            <a:p>
              <a:pPr defTabSz="896364">
                <a:defRPr/>
              </a:pPr>
              <a:r>
                <a:rPr lang="en-US" sz="1163" dirty="0">
                  <a:solidFill>
                    <a:srgbClr val="3C3C41"/>
                  </a:solidFill>
                  <a:latin typeface="Segoe UI"/>
                </a:rPr>
                <a:t>Dataverse data security</a:t>
              </a:r>
              <a:endParaRPr lang="en-US" sz="1176" dirty="0">
                <a:solidFill>
                  <a:srgbClr val="3C3C41"/>
                </a:solidFill>
                <a:latin typeface="Segoe UI"/>
              </a:endParaRP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solidFill>
                  <a:latin typeface="Segoe UI"/>
                </a:rPr>
                <a:t>Environment access &amp; strategy</a:t>
              </a:r>
              <a:endParaRPr lang="en-US" sz="1176">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735194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a:t>Tenant Access &amp; Isolation</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1</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27617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ectangle 233">
            <a:extLst>
              <a:ext uri="{FF2B5EF4-FFF2-40B4-BE49-F238E27FC236}">
                <a16:creationId xmlns:a16="http://schemas.microsoft.com/office/drawing/2014/main" id="{BD176655-AE8C-45E1-86C7-E1A1CD9A1C39}"/>
              </a:ext>
            </a:extLst>
          </p:cNvPr>
          <p:cNvSpPr/>
          <p:nvPr/>
        </p:nvSpPr>
        <p:spPr>
          <a:xfrm>
            <a:off x="7263" y="949941"/>
            <a:ext cx="9136737" cy="661647"/>
          </a:xfrm>
          <a:prstGeom prst="rect">
            <a:avLst/>
          </a:prstGeom>
          <a:solidFill>
            <a:srgbClr val="EAEAEA"/>
          </a:solidFill>
          <a:ln w="9525" cap="flat" cmpd="sng" algn="ctr">
            <a:noFill/>
            <a:prstDash val="dash"/>
          </a:ln>
          <a:effectLst/>
        </p:spPr>
        <p:txBody>
          <a:bodyPr wrap="square" lIns="0" tIns="0" rIns="0" bIns="0" rtlCol="0" anchor="ctr" anchorCtr="0">
            <a:noAutofit/>
          </a:bodyPr>
          <a:lstStyle/>
          <a:p>
            <a:pPr algn="ctr" defTabSz="671713">
              <a:spcAft>
                <a:spcPts val="221"/>
              </a:spcAft>
              <a:defRPr/>
            </a:pPr>
            <a:r>
              <a:rPr lang="en-US" sz="1471" dirty="0">
                <a:solidFill>
                  <a:srgbClr val="282828"/>
                </a:solidFill>
                <a:latin typeface="Segoe UI"/>
                <a:cs typeface="Segoe UI Semilight"/>
              </a:rPr>
              <a:t>The low-code platform that spans Office 365, Azure, Dynamics 365, and standalone applications</a:t>
            </a:r>
          </a:p>
          <a:p>
            <a:pPr algn="ctr" defTabSz="671713">
              <a:spcAft>
                <a:spcPts val="221"/>
              </a:spcAft>
              <a:defRPr/>
            </a:pPr>
            <a:r>
              <a:rPr lang="en-US" sz="1471" dirty="0">
                <a:solidFill>
                  <a:srgbClr val="282828"/>
                </a:solidFill>
                <a:latin typeface="Segoe UI Semibold"/>
                <a:cs typeface="Segoe UI"/>
              </a:rPr>
              <a:t>Innovation anywhere. Unlocks value everywhere</a:t>
            </a:r>
          </a:p>
        </p:txBody>
      </p:sp>
      <p:sp>
        <p:nvSpPr>
          <p:cNvPr id="5" name="Title 4">
            <a:extLst>
              <a:ext uri="{FF2B5EF4-FFF2-40B4-BE49-F238E27FC236}">
                <a16:creationId xmlns:a16="http://schemas.microsoft.com/office/drawing/2014/main" id="{256AF25F-3806-4FB7-A6CF-92DF794DCB05}"/>
              </a:ext>
            </a:extLst>
          </p:cNvPr>
          <p:cNvSpPr>
            <a:spLocks noGrp="1"/>
          </p:cNvSpPr>
          <p:nvPr>
            <p:ph type="title"/>
          </p:nvPr>
        </p:nvSpPr>
        <p:spPr>
          <a:xfrm>
            <a:off x="426036" y="442742"/>
            <a:ext cx="8291930" cy="316882"/>
          </a:xfrm>
        </p:spPr>
        <p:txBody>
          <a:bodyPr/>
          <a:lstStyle/>
          <a:p>
            <a:pPr>
              <a:lnSpc>
                <a:spcPct val="100000"/>
              </a:lnSpc>
            </a:pPr>
            <a:r>
              <a:rPr lang="en-IN" dirty="0"/>
              <a:t>Microsoft Power Platform</a:t>
            </a:r>
            <a:endParaRPr lang="en-US" dirty="0"/>
          </a:p>
        </p:txBody>
      </p:sp>
      <p:cxnSp>
        <p:nvCxnSpPr>
          <p:cNvPr id="54" name="Straight Connector 53">
            <a:extLst>
              <a:ext uri="{FF2B5EF4-FFF2-40B4-BE49-F238E27FC236}">
                <a16:creationId xmlns:a16="http://schemas.microsoft.com/office/drawing/2014/main" id="{BEDAED67-10FB-4DE8-869B-67FF99F980C6}"/>
              </a:ext>
            </a:extLst>
          </p:cNvPr>
          <p:cNvCxnSpPr>
            <a:cxnSpLocks/>
          </p:cNvCxnSpPr>
          <p:nvPr/>
        </p:nvCxnSpPr>
        <p:spPr>
          <a:xfrm>
            <a:off x="1890668" y="2287598"/>
            <a:ext cx="5473054" cy="0"/>
          </a:xfrm>
          <a:prstGeom prst="line">
            <a:avLst/>
          </a:prstGeom>
          <a:noFill/>
          <a:ln w="15875" cap="flat" cmpd="sng" algn="ctr">
            <a:solidFill>
              <a:srgbClr val="75757A"/>
            </a:solidFill>
            <a:prstDash val="solid"/>
            <a:miter lim="800000"/>
            <a:headEnd type="none" w="lg" len="med"/>
            <a:tailEnd type="none" w="lg" len="med"/>
          </a:ln>
          <a:effectLst/>
        </p:spPr>
      </p:cxnSp>
      <p:grpSp>
        <p:nvGrpSpPr>
          <p:cNvPr id="187" name="Group 186">
            <a:extLst>
              <a:ext uri="{FF2B5EF4-FFF2-40B4-BE49-F238E27FC236}">
                <a16:creationId xmlns:a16="http://schemas.microsoft.com/office/drawing/2014/main" id="{FA452ECF-99FB-4316-AE00-4750E643B9B1}"/>
              </a:ext>
            </a:extLst>
          </p:cNvPr>
          <p:cNvGrpSpPr/>
          <p:nvPr/>
        </p:nvGrpSpPr>
        <p:grpSpPr>
          <a:xfrm>
            <a:off x="2079718" y="3428286"/>
            <a:ext cx="5196463" cy="245848"/>
            <a:chOff x="3429816" y="4681550"/>
            <a:chExt cx="5443255" cy="334370"/>
          </a:xfrm>
        </p:grpSpPr>
        <p:sp>
          <p:nvSpPr>
            <p:cNvPr id="188" name="Rectangle 42">
              <a:extLst>
                <a:ext uri="{FF2B5EF4-FFF2-40B4-BE49-F238E27FC236}">
                  <a16:creationId xmlns:a16="http://schemas.microsoft.com/office/drawing/2014/main" id="{27B2C12B-D0F4-424B-98CD-8693CD44C2D5}"/>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75757A"/>
              </a:solidFill>
              <a:prstDash val="solid"/>
              <a:miter lim="800000"/>
              <a:headEnd type="none" w="lg" len="med"/>
              <a:tailEnd type="none" w="lg" len="med"/>
            </a:ln>
            <a:effectLst/>
          </p:spPr>
          <p:txBody>
            <a:bodyPr rot="0" spcFirstLastPara="0" vertOverflow="overflow" horzOverflow="overflow" vert="horz" wrap="square" lIns="134425" tIns="107541" rIns="134425" bIns="107541" numCol="1" spcCol="0" rtlCol="0" fromWordArt="0" anchor="t" anchorCtr="0" forceAA="0" compatLnSpc="1">
              <a:prstTxWarp prst="textNoShape">
                <a:avLst/>
              </a:prstTxWarp>
              <a:noAutofit/>
            </a:bodyPr>
            <a:lstStyle/>
            <a:p>
              <a:pPr defTabSz="685383" fontAlgn="base">
                <a:spcBef>
                  <a:spcPct val="0"/>
                </a:spcBef>
                <a:spcAft>
                  <a:spcPct val="0"/>
                </a:spcAft>
                <a:defRPr/>
              </a:pPr>
              <a:endParaRPr lang="en-US" sz="1471" kern="0">
                <a:solidFill>
                  <a:srgbClr val="282828"/>
                </a:solidFill>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E14E8779-141C-4912-BAE0-B8A6983EDA7F}"/>
                </a:ext>
              </a:extLst>
            </p:cNvPr>
            <p:cNvCxnSpPr>
              <a:cxnSpLocks/>
            </p:cNvCxnSpPr>
            <p:nvPr/>
          </p:nvCxnSpPr>
          <p:spPr>
            <a:xfrm>
              <a:off x="5199808" y="4686072"/>
              <a:ext cx="0" cy="329848"/>
            </a:xfrm>
            <a:prstGeom prst="line">
              <a:avLst/>
            </a:prstGeom>
            <a:noFill/>
            <a:ln w="15875" cap="flat" cmpd="sng" algn="ctr">
              <a:solidFill>
                <a:srgbClr val="75757A"/>
              </a:solidFill>
              <a:prstDash val="solid"/>
              <a:miter lim="800000"/>
              <a:headEnd type="none" w="lg" len="med"/>
              <a:tailEnd type="none" w="lg" len="med"/>
            </a:ln>
            <a:effectLst/>
          </p:spPr>
        </p:cxnSp>
        <p:cxnSp>
          <p:nvCxnSpPr>
            <p:cNvPr id="190" name="Straight Connector 189">
              <a:extLst>
                <a:ext uri="{FF2B5EF4-FFF2-40B4-BE49-F238E27FC236}">
                  <a16:creationId xmlns:a16="http://schemas.microsoft.com/office/drawing/2014/main" id="{B874749C-598F-4F41-BE4F-3C0A254EAA9F}"/>
                </a:ext>
              </a:extLst>
            </p:cNvPr>
            <p:cNvCxnSpPr>
              <a:cxnSpLocks/>
            </p:cNvCxnSpPr>
            <p:nvPr/>
          </p:nvCxnSpPr>
          <p:spPr>
            <a:xfrm>
              <a:off x="7065580" y="4681550"/>
              <a:ext cx="0" cy="329847"/>
            </a:xfrm>
            <a:prstGeom prst="line">
              <a:avLst/>
            </a:prstGeom>
            <a:noFill/>
            <a:ln w="15875" cap="flat" cmpd="sng" algn="ctr">
              <a:solidFill>
                <a:srgbClr val="75757A"/>
              </a:solidFill>
              <a:prstDash val="solid"/>
              <a:miter lim="800000"/>
              <a:headEnd type="none" w="lg" len="med"/>
              <a:tailEnd type="none" w="lg" len="med"/>
            </a:ln>
            <a:effectLst/>
          </p:spPr>
        </p:cxnSp>
      </p:grpSp>
      <p:grpSp>
        <p:nvGrpSpPr>
          <p:cNvPr id="191" name="Group 190">
            <a:extLst>
              <a:ext uri="{FF2B5EF4-FFF2-40B4-BE49-F238E27FC236}">
                <a16:creationId xmlns:a16="http://schemas.microsoft.com/office/drawing/2014/main" id="{A412FC2D-0E13-4A87-9A0C-F8DD6BF1767F}"/>
              </a:ext>
            </a:extLst>
          </p:cNvPr>
          <p:cNvGrpSpPr/>
          <p:nvPr/>
        </p:nvGrpSpPr>
        <p:grpSpPr>
          <a:xfrm>
            <a:off x="6775631" y="3815124"/>
            <a:ext cx="1008478" cy="912088"/>
            <a:chOff x="8948993" y="5028535"/>
            <a:chExt cx="1371600" cy="1240503"/>
          </a:xfrm>
        </p:grpSpPr>
        <p:sp>
          <p:nvSpPr>
            <p:cNvPr id="192" name="Rectangle 191">
              <a:extLst>
                <a:ext uri="{FF2B5EF4-FFF2-40B4-BE49-F238E27FC236}">
                  <a16:creationId xmlns:a16="http://schemas.microsoft.com/office/drawing/2014/main" id="{5E1E1D82-7BAB-463D-81F6-0CE31122D85C}"/>
                </a:ext>
              </a:extLst>
            </p:cNvPr>
            <p:cNvSpPr/>
            <p:nvPr/>
          </p:nvSpPr>
          <p:spPr bwMode="auto">
            <a:xfrm>
              <a:off x="8948993"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err="1">
                  <a:solidFill>
                    <a:srgbClr val="282828"/>
                  </a:solidFill>
                  <a:latin typeface="Segoe UI Semibold"/>
                  <a:cs typeface="Segoe UI" pitchFamily="34" charset="0"/>
                </a:rPr>
                <a:t>Dataverse</a:t>
              </a:r>
              <a:endParaRPr lang="en-US" sz="1324" b="1" kern="0" dirty="0">
                <a:solidFill>
                  <a:srgbClr val="282828"/>
                </a:solidFill>
                <a:latin typeface="Segoe UI Semibold"/>
                <a:cs typeface="Segoe UI" pitchFamily="34" charset="0"/>
              </a:endParaRPr>
            </a:p>
          </p:txBody>
        </p:sp>
        <p:pic>
          <p:nvPicPr>
            <p:cNvPr id="193" name="Graphic 192">
              <a:extLst>
                <a:ext uri="{FF2B5EF4-FFF2-40B4-BE49-F238E27FC236}">
                  <a16:creationId xmlns:a16="http://schemas.microsoft.com/office/drawing/2014/main" id="{C6E482BD-1C3D-482C-B7C4-2DA6D9907C9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71207" y="5028535"/>
              <a:ext cx="527174" cy="527172"/>
            </a:xfrm>
            <a:prstGeom prst="rect">
              <a:avLst/>
            </a:prstGeom>
          </p:spPr>
        </p:pic>
      </p:grpSp>
      <p:grpSp>
        <p:nvGrpSpPr>
          <p:cNvPr id="194" name="Group 193">
            <a:extLst>
              <a:ext uri="{FF2B5EF4-FFF2-40B4-BE49-F238E27FC236}">
                <a16:creationId xmlns:a16="http://schemas.microsoft.com/office/drawing/2014/main" id="{4257F77D-3270-479D-830E-02085C0B24A2}"/>
              </a:ext>
            </a:extLst>
          </p:cNvPr>
          <p:cNvGrpSpPr/>
          <p:nvPr/>
        </p:nvGrpSpPr>
        <p:grpSpPr>
          <a:xfrm>
            <a:off x="1577393" y="3720093"/>
            <a:ext cx="1008478" cy="1007119"/>
            <a:chOff x="1879028" y="4899286"/>
            <a:chExt cx="1371600" cy="1369752"/>
          </a:xfrm>
        </p:grpSpPr>
        <p:sp>
          <p:nvSpPr>
            <p:cNvPr id="195" name="Rectangle 194">
              <a:extLst>
                <a:ext uri="{FF2B5EF4-FFF2-40B4-BE49-F238E27FC236}">
                  <a16:creationId xmlns:a16="http://schemas.microsoft.com/office/drawing/2014/main" id="{F790F6D0-EEE6-4D2E-BE50-BC149CF6FF01}"/>
                </a:ext>
              </a:extLst>
            </p:cNvPr>
            <p:cNvSpPr/>
            <p:nvPr/>
          </p:nvSpPr>
          <p:spPr bwMode="auto">
            <a:xfrm>
              <a:off x="187902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Data</a:t>
              </a:r>
              <a:br>
                <a:rPr lang="en-US" sz="1324" b="1" kern="0" dirty="0">
                  <a:solidFill>
                    <a:srgbClr val="282828"/>
                  </a:solidFill>
                  <a:latin typeface="Segoe UI Semibold"/>
                  <a:cs typeface="Segoe UI" pitchFamily="34" charset="0"/>
                </a:rPr>
              </a:br>
              <a:r>
                <a:rPr lang="en-US" sz="1324" b="1" kern="0" dirty="0">
                  <a:solidFill>
                    <a:srgbClr val="282828"/>
                  </a:solidFill>
                  <a:latin typeface="Segoe UI Semibold"/>
                  <a:cs typeface="Segoe UI" pitchFamily="34" charset="0"/>
                </a:rPr>
                <a:t>connectors</a:t>
              </a:r>
            </a:p>
          </p:txBody>
        </p:sp>
        <p:sp>
          <p:nvSpPr>
            <p:cNvPr id="196" name="plug" title="Icon of a power plug showing an A to B connection">
              <a:extLst>
                <a:ext uri="{FF2B5EF4-FFF2-40B4-BE49-F238E27FC236}">
                  <a16:creationId xmlns:a16="http://schemas.microsoft.com/office/drawing/2014/main" id="{A9BE3A68-394F-4308-BCA7-64FDD08C6111}"/>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flat" cmpd="sng" algn="ctr">
              <a:solidFill>
                <a:srgbClr val="000000"/>
              </a:solidFill>
              <a:prstDash val="solid"/>
              <a:headEnd/>
              <a:tailEnd/>
            </a:ln>
            <a:effectLst/>
          </p:spPr>
          <p:txBody>
            <a:bodyPr vert="horz" wrap="square" lIns="67213" tIns="33606" rIns="67213" bIns="336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672100">
                <a:defRPr/>
              </a:pPr>
              <a:endParaRPr lang="en-US" sz="662">
                <a:solidFill>
                  <a:srgbClr val="282828"/>
                </a:solidFill>
                <a:latin typeface="Segoe UI"/>
              </a:endParaRPr>
            </a:p>
          </p:txBody>
        </p:sp>
      </p:grpSp>
      <p:grpSp>
        <p:nvGrpSpPr>
          <p:cNvPr id="197" name="Group 196">
            <a:extLst>
              <a:ext uri="{FF2B5EF4-FFF2-40B4-BE49-F238E27FC236}">
                <a16:creationId xmlns:a16="http://schemas.microsoft.com/office/drawing/2014/main" id="{06751FA5-A262-4EA1-9328-47DBF6990B01}"/>
              </a:ext>
            </a:extLst>
          </p:cNvPr>
          <p:cNvGrpSpPr/>
          <p:nvPr/>
        </p:nvGrpSpPr>
        <p:grpSpPr>
          <a:xfrm>
            <a:off x="5048487" y="3748812"/>
            <a:ext cx="1008478" cy="978400"/>
            <a:chOff x="6599958" y="4938346"/>
            <a:chExt cx="1371600" cy="1330692"/>
          </a:xfrm>
        </p:grpSpPr>
        <p:pic>
          <p:nvPicPr>
            <p:cNvPr id="198" name="Graphic 197">
              <a:extLst>
                <a:ext uri="{FF2B5EF4-FFF2-40B4-BE49-F238E27FC236}">
                  <a16:creationId xmlns:a16="http://schemas.microsoft.com/office/drawing/2014/main" id="{C666303A-469E-404A-9875-126BEB77B1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59137" y="4938346"/>
              <a:ext cx="653244" cy="670740"/>
            </a:xfrm>
            <a:prstGeom prst="rect">
              <a:avLst/>
            </a:prstGeom>
          </p:spPr>
        </p:pic>
        <p:sp>
          <p:nvSpPr>
            <p:cNvPr id="199" name="Rectangle 198">
              <a:extLst>
                <a:ext uri="{FF2B5EF4-FFF2-40B4-BE49-F238E27FC236}">
                  <a16:creationId xmlns:a16="http://schemas.microsoft.com/office/drawing/2014/main" id="{A294A0D9-457B-4A91-AD57-C0DF8DB74B7B}"/>
                </a:ext>
              </a:extLst>
            </p:cNvPr>
            <p:cNvSpPr/>
            <p:nvPr/>
          </p:nvSpPr>
          <p:spPr bwMode="auto">
            <a:xfrm>
              <a:off x="659995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AI Builder</a:t>
              </a:r>
            </a:p>
          </p:txBody>
        </p:sp>
      </p:grpSp>
      <p:grpSp>
        <p:nvGrpSpPr>
          <p:cNvPr id="200" name="Group 199">
            <a:extLst>
              <a:ext uri="{FF2B5EF4-FFF2-40B4-BE49-F238E27FC236}">
                <a16:creationId xmlns:a16="http://schemas.microsoft.com/office/drawing/2014/main" id="{532E0F45-57FC-43EF-9586-AC7A65F8D8B1}"/>
              </a:ext>
            </a:extLst>
          </p:cNvPr>
          <p:cNvGrpSpPr/>
          <p:nvPr/>
        </p:nvGrpSpPr>
        <p:grpSpPr>
          <a:xfrm>
            <a:off x="3270824" y="3810247"/>
            <a:ext cx="1008478" cy="916966"/>
            <a:chOff x="4182212" y="5021901"/>
            <a:chExt cx="1371600" cy="1247137"/>
          </a:xfrm>
        </p:grpSpPr>
        <p:grpSp>
          <p:nvGrpSpPr>
            <p:cNvPr id="201" name="Group 200">
              <a:extLst>
                <a:ext uri="{FF2B5EF4-FFF2-40B4-BE49-F238E27FC236}">
                  <a16:creationId xmlns:a16="http://schemas.microsoft.com/office/drawing/2014/main" id="{3CA6A58D-2EBB-4F5E-BB62-42A285F209ED}"/>
                </a:ext>
              </a:extLst>
            </p:cNvPr>
            <p:cNvGrpSpPr/>
            <p:nvPr/>
          </p:nvGrpSpPr>
          <p:grpSpPr>
            <a:xfrm>
              <a:off x="4630379" y="5021901"/>
              <a:ext cx="475266" cy="454817"/>
              <a:chOff x="4939349" y="5201042"/>
              <a:chExt cx="475266" cy="454817"/>
            </a:xfrm>
          </p:grpSpPr>
          <p:sp>
            <p:nvSpPr>
              <p:cNvPr id="203" name="Oval 202">
                <a:extLst>
                  <a:ext uri="{FF2B5EF4-FFF2-40B4-BE49-F238E27FC236}">
                    <a16:creationId xmlns:a16="http://schemas.microsoft.com/office/drawing/2014/main" id="{159F9D86-D4F1-4C18-A82E-244EE00617D5}"/>
                  </a:ext>
                </a:extLst>
              </p:cNvPr>
              <p:cNvSpPr/>
              <p:nvPr/>
            </p:nvSpPr>
            <p:spPr bwMode="auto">
              <a:xfrm>
                <a:off x="4939349" y="5201042"/>
                <a:ext cx="475266"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err="1">
                  <a:solidFill>
                    <a:srgbClr val="282828"/>
                  </a:solidFill>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401EF746-90CB-4009-83CA-66F9632B9506}"/>
                  </a:ext>
                </a:extLst>
              </p:cNvPr>
              <p:cNvSpPr/>
              <p:nvPr/>
            </p:nvSpPr>
            <p:spPr bwMode="auto">
              <a:xfrm>
                <a:off x="5056392" y="5201042"/>
                <a:ext cx="241179"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a:solidFill>
                    <a:srgbClr val="282828"/>
                  </a:solidFill>
                  <a:latin typeface="Segoe UI"/>
                  <a:ea typeface="Segoe UI" pitchFamily="34" charset="0"/>
                  <a:cs typeface="Segoe UI" pitchFamily="34" charset="0"/>
                </a:endParaRPr>
              </a:p>
            </p:txBody>
          </p:sp>
          <p:cxnSp>
            <p:nvCxnSpPr>
              <p:cNvPr id="205" name="Straight Connector 204">
                <a:extLst>
                  <a:ext uri="{FF2B5EF4-FFF2-40B4-BE49-F238E27FC236}">
                    <a16:creationId xmlns:a16="http://schemas.microsoft.com/office/drawing/2014/main" id="{CBBDC237-6FBB-47F5-AE70-7C0DD84D8F0C}"/>
                  </a:ext>
                </a:extLst>
              </p:cNvPr>
              <p:cNvCxnSpPr>
                <a:cxnSpLocks/>
              </p:cNvCxnSpPr>
              <p:nvPr/>
            </p:nvCxnSpPr>
            <p:spPr>
              <a:xfrm>
                <a:off x="4950980" y="5350947"/>
                <a:ext cx="437987" cy="0"/>
              </a:xfrm>
              <a:prstGeom prst="line">
                <a:avLst/>
              </a:prstGeom>
              <a:noFill/>
              <a:ln w="15875" cap="flat" cmpd="sng" algn="ctr">
                <a:solidFill>
                  <a:srgbClr val="000000"/>
                </a:solidFill>
                <a:prstDash val="solid"/>
                <a:headEnd type="none"/>
                <a:tailEnd type="none"/>
              </a:ln>
              <a:effectLst/>
            </p:spPr>
          </p:cxnSp>
          <p:cxnSp>
            <p:nvCxnSpPr>
              <p:cNvPr id="206" name="Straight Connector 205">
                <a:extLst>
                  <a:ext uri="{FF2B5EF4-FFF2-40B4-BE49-F238E27FC236}">
                    <a16:creationId xmlns:a16="http://schemas.microsoft.com/office/drawing/2014/main" id="{2C4BBD1A-53C4-482E-9BAC-A09F79E44E16}"/>
                  </a:ext>
                </a:extLst>
              </p:cNvPr>
              <p:cNvCxnSpPr>
                <a:cxnSpLocks/>
              </p:cNvCxnSpPr>
              <p:nvPr/>
            </p:nvCxnSpPr>
            <p:spPr>
              <a:xfrm>
                <a:off x="4950980" y="5508817"/>
                <a:ext cx="453390" cy="0"/>
              </a:xfrm>
              <a:prstGeom prst="line">
                <a:avLst/>
              </a:prstGeom>
              <a:noFill/>
              <a:ln w="15875" cap="flat" cmpd="sng" algn="ctr">
                <a:solidFill>
                  <a:srgbClr val="000000"/>
                </a:solidFill>
                <a:prstDash val="solid"/>
                <a:headEnd type="none"/>
                <a:tailEnd type="none"/>
              </a:ln>
              <a:effectLst/>
            </p:spPr>
          </p:cxnSp>
        </p:grpSp>
        <p:sp>
          <p:nvSpPr>
            <p:cNvPr id="202" name="Rectangle 201">
              <a:extLst>
                <a:ext uri="{FF2B5EF4-FFF2-40B4-BE49-F238E27FC236}">
                  <a16:creationId xmlns:a16="http://schemas.microsoft.com/office/drawing/2014/main" id="{DCA2E8F0-523C-4505-B628-6DEA97C6D149}"/>
                </a:ext>
              </a:extLst>
            </p:cNvPr>
            <p:cNvSpPr/>
            <p:nvPr/>
          </p:nvSpPr>
          <p:spPr bwMode="auto">
            <a:xfrm>
              <a:off x="4182212"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rtals</a:t>
              </a:r>
            </a:p>
          </p:txBody>
        </p:sp>
      </p:grpSp>
      <p:sp>
        <p:nvSpPr>
          <p:cNvPr id="208" name="Rectangle 207">
            <a:extLst>
              <a:ext uri="{FF2B5EF4-FFF2-40B4-BE49-F238E27FC236}">
                <a16:creationId xmlns:a16="http://schemas.microsoft.com/office/drawing/2014/main" id="{9C616CDB-7CC2-4B84-839A-BBB0E2541A13}"/>
              </a:ext>
            </a:extLst>
          </p:cNvPr>
          <p:cNvSpPr/>
          <p:nvPr/>
        </p:nvSpPr>
        <p:spPr bwMode="auto">
          <a:xfrm>
            <a:off x="942183"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ea typeface="Segoe UI" pitchFamily="34" charset="0"/>
                <a:cs typeface="Segoe UI" pitchFamily="34" charset="0"/>
              </a:rPr>
              <a:t>Power BI</a:t>
            </a:r>
          </a:p>
          <a:p>
            <a:pPr algn="ctr" defTabSz="685383" fontAlgn="base">
              <a:spcBef>
                <a:spcPct val="0"/>
              </a:spcBef>
              <a:spcAft>
                <a:spcPts val="294"/>
              </a:spcAft>
              <a:defRPr/>
            </a:pPr>
            <a:r>
              <a:rPr lang="en-US" sz="1176" kern="0" dirty="0">
                <a:solidFill>
                  <a:srgbClr val="282828"/>
                </a:solidFill>
                <a:latin typeface="Segoe UI"/>
                <a:ea typeface="Segoe UI" pitchFamily="34" charset="0"/>
                <a:cs typeface="Segoe UI" pitchFamily="34" charset="0"/>
              </a:rPr>
              <a:t>Business analytics</a:t>
            </a:r>
          </a:p>
        </p:txBody>
      </p:sp>
      <p:sp>
        <p:nvSpPr>
          <p:cNvPr id="209" name="Rectangle 208">
            <a:extLst>
              <a:ext uri="{FF2B5EF4-FFF2-40B4-BE49-F238E27FC236}">
                <a16:creationId xmlns:a16="http://schemas.microsoft.com/office/drawing/2014/main" id="{94D054E8-C6A1-4050-B7AB-95B17F8FA6F2}"/>
              </a:ext>
            </a:extLst>
          </p:cNvPr>
          <p:cNvSpPr/>
          <p:nvPr/>
        </p:nvSpPr>
        <p:spPr bwMode="auto">
          <a:xfrm>
            <a:off x="2617992" y="2823312"/>
            <a:ext cx="1932863"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pp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Application development</a:t>
            </a:r>
          </a:p>
        </p:txBody>
      </p:sp>
      <p:sp>
        <p:nvSpPr>
          <p:cNvPr id="210" name="Rectangle 209">
            <a:extLst>
              <a:ext uri="{FF2B5EF4-FFF2-40B4-BE49-F238E27FC236}">
                <a16:creationId xmlns:a16="http://schemas.microsoft.com/office/drawing/2014/main" id="{D300BB71-0C0B-4148-921B-33B359574055}"/>
              </a:ext>
            </a:extLst>
          </p:cNvPr>
          <p:cNvSpPr/>
          <p:nvPr/>
        </p:nvSpPr>
        <p:spPr bwMode="auto">
          <a:xfrm>
            <a:off x="4882028"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utomate</a:t>
            </a:r>
          </a:p>
          <a:p>
            <a:pPr algn="ctr" defTabSz="685383" fontAlgn="base">
              <a:spcBef>
                <a:spcPct val="0"/>
              </a:spcBef>
              <a:spcAft>
                <a:spcPts val="294"/>
              </a:spcAft>
              <a:defRPr/>
            </a:pPr>
            <a:r>
              <a:rPr lang="en-US" sz="1176" kern="0" dirty="0">
                <a:solidFill>
                  <a:srgbClr val="282828"/>
                </a:solidFill>
                <a:latin typeface="Segoe UI"/>
                <a:cs typeface="Segoe UI" pitchFamily="34" charset="0"/>
              </a:rPr>
              <a:t>Process automation</a:t>
            </a:r>
          </a:p>
        </p:txBody>
      </p:sp>
      <p:sp>
        <p:nvSpPr>
          <p:cNvPr id="211" name="Rectangle 210">
            <a:extLst>
              <a:ext uri="{FF2B5EF4-FFF2-40B4-BE49-F238E27FC236}">
                <a16:creationId xmlns:a16="http://schemas.microsoft.com/office/drawing/2014/main" id="{531E846F-BC5C-4747-88DC-3A7DF1870DA3}"/>
              </a:ext>
            </a:extLst>
          </p:cNvPr>
          <p:cNvSpPr/>
          <p:nvPr/>
        </p:nvSpPr>
        <p:spPr bwMode="auto">
          <a:xfrm>
            <a:off x="6557837" y="2823312"/>
            <a:ext cx="1855879"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Virtual Agent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Intelligent virtual agents</a:t>
            </a:r>
          </a:p>
        </p:txBody>
      </p:sp>
      <p:grpSp>
        <p:nvGrpSpPr>
          <p:cNvPr id="14" name="Group 13">
            <a:extLst>
              <a:ext uri="{FF2B5EF4-FFF2-40B4-BE49-F238E27FC236}">
                <a16:creationId xmlns:a16="http://schemas.microsoft.com/office/drawing/2014/main" id="{3390BB62-4EC7-4F6A-90C4-FF901A762777}"/>
              </a:ext>
            </a:extLst>
          </p:cNvPr>
          <p:cNvGrpSpPr/>
          <p:nvPr/>
        </p:nvGrpSpPr>
        <p:grpSpPr>
          <a:xfrm>
            <a:off x="1228028" y="1897197"/>
            <a:ext cx="772947" cy="772947"/>
            <a:chOff x="1670203" y="2579823"/>
            <a:chExt cx="1051262" cy="1051262"/>
          </a:xfrm>
        </p:grpSpPr>
        <p:sp>
          <p:nvSpPr>
            <p:cNvPr id="214" name="Oval 213">
              <a:extLst>
                <a:ext uri="{FF2B5EF4-FFF2-40B4-BE49-F238E27FC236}">
                  <a16:creationId xmlns:a16="http://schemas.microsoft.com/office/drawing/2014/main" id="{55B232A6-DCD0-40BA-849C-907399BA952D}"/>
                </a:ext>
              </a:extLst>
            </p:cNvPr>
            <p:cNvSpPr/>
            <p:nvPr/>
          </p:nvSpPr>
          <p:spPr bwMode="auto">
            <a:xfrm>
              <a:off x="1670203" y="2579823"/>
              <a:ext cx="1051262" cy="1051262"/>
            </a:xfrm>
            <a:prstGeom prst="ellipse">
              <a:avLst/>
            </a:prstGeom>
            <a:solidFill>
              <a:schemeClr val="bg1"/>
            </a:solidFill>
            <a:ln w="19050" cap="flat" cmpd="sng" algn="ctr">
              <a:solidFill>
                <a:srgbClr val="FFC000"/>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4" name="Picture 3">
              <a:extLst>
                <a:ext uri="{FF2B5EF4-FFF2-40B4-BE49-F238E27FC236}">
                  <a16:creationId xmlns:a16="http://schemas.microsoft.com/office/drawing/2014/main" id="{EFE5EBF9-0CC3-45C2-9D8E-BC8DE3B5E5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14328" y="2773009"/>
              <a:ext cx="563012" cy="664890"/>
            </a:xfrm>
            <a:prstGeom prst="rect">
              <a:avLst/>
            </a:prstGeom>
          </p:spPr>
        </p:pic>
      </p:grpSp>
      <p:grpSp>
        <p:nvGrpSpPr>
          <p:cNvPr id="13" name="Group 12">
            <a:extLst>
              <a:ext uri="{FF2B5EF4-FFF2-40B4-BE49-F238E27FC236}">
                <a16:creationId xmlns:a16="http://schemas.microsoft.com/office/drawing/2014/main" id="{FEFACCF9-4E06-4A22-9946-553E12A9AA59}"/>
              </a:ext>
            </a:extLst>
          </p:cNvPr>
          <p:cNvGrpSpPr/>
          <p:nvPr/>
        </p:nvGrpSpPr>
        <p:grpSpPr>
          <a:xfrm>
            <a:off x="3197950" y="1897198"/>
            <a:ext cx="772947" cy="772947"/>
            <a:chOff x="4349434" y="2579824"/>
            <a:chExt cx="1051262" cy="1051262"/>
          </a:xfrm>
        </p:grpSpPr>
        <p:sp>
          <p:nvSpPr>
            <p:cNvPr id="222" name="Oval 221">
              <a:extLst>
                <a:ext uri="{FF2B5EF4-FFF2-40B4-BE49-F238E27FC236}">
                  <a16:creationId xmlns:a16="http://schemas.microsoft.com/office/drawing/2014/main" id="{D0C32833-6E2F-4A62-8EE1-5651BA663314}"/>
                </a:ext>
              </a:extLst>
            </p:cNvPr>
            <p:cNvSpPr/>
            <p:nvPr/>
          </p:nvSpPr>
          <p:spPr bwMode="auto">
            <a:xfrm>
              <a:off x="4349434" y="2579824"/>
              <a:ext cx="1051262" cy="1051262"/>
            </a:xfrm>
            <a:prstGeom prst="ellipse">
              <a:avLst/>
            </a:prstGeom>
            <a:solidFill>
              <a:schemeClr val="bg1"/>
            </a:solidFill>
            <a:ln w="19050" cap="flat" cmpd="sng" algn="ctr">
              <a:solidFill>
                <a:srgbClr val="8A2E8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7" name="Picture 6">
              <a:extLst>
                <a:ext uri="{FF2B5EF4-FFF2-40B4-BE49-F238E27FC236}">
                  <a16:creationId xmlns:a16="http://schemas.microsoft.com/office/drawing/2014/main" id="{B8DC5128-EAD7-45E9-BD81-87D0E01B912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66080" y="2809875"/>
              <a:ext cx="617970" cy="591160"/>
            </a:xfrm>
            <a:prstGeom prst="rect">
              <a:avLst/>
            </a:prstGeom>
          </p:spPr>
        </p:pic>
      </p:grpSp>
      <p:grpSp>
        <p:nvGrpSpPr>
          <p:cNvPr id="15" name="Group 14">
            <a:extLst>
              <a:ext uri="{FF2B5EF4-FFF2-40B4-BE49-F238E27FC236}">
                <a16:creationId xmlns:a16="http://schemas.microsoft.com/office/drawing/2014/main" id="{4B8A7190-6DFA-4A48-8E06-44A42BE28046}"/>
              </a:ext>
            </a:extLst>
          </p:cNvPr>
          <p:cNvGrpSpPr/>
          <p:nvPr/>
        </p:nvGrpSpPr>
        <p:grpSpPr>
          <a:xfrm>
            <a:off x="5167873" y="1888495"/>
            <a:ext cx="772947" cy="772947"/>
            <a:chOff x="7028665" y="2567987"/>
            <a:chExt cx="1051262" cy="1051262"/>
          </a:xfrm>
        </p:grpSpPr>
        <p:sp>
          <p:nvSpPr>
            <p:cNvPr id="230" name="Oval 229">
              <a:extLst>
                <a:ext uri="{FF2B5EF4-FFF2-40B4-BE49-F238E27FC236}">
                  <a16:creationId xmlns:a16="http://schemas.microsoft.com/office/drawing/2014/main" id="{82DAFB6A-A84E-4B6E-839C-3727BE3CE7D3}"/>
                </a:ext>
              </a:extLst>
            </p:cNvPr>
            <p:cNvSpPr/>
            <p:nvPr/>
          </p:nvSpPr>
          <p:spPr bwMode="auto">
            <a:xfrm>
              <a:off x="7028665" y="2567987"/>
              <a:ext cx="1051262" cy="1051262"/>
            </a:xfrm>
            <a:prstGeom prst="ellipse">
              <a:avLst/>
            </a:prstGeom>
            <a:solidFill>
              <a:schemeClr val="bg1"/>
            </a:solidFill>
            <a:ln w="19050" cap="flat" cmpd="sng" algn="ctr">
              <a:solidFill>
                <a:srgbClr val="287EFF"/>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9" name="Picture 8">
              <a:extLst>
                <a:ext uri="{FF2B5EF4-FFF2-40B4-BE49-F238E27FC236}">
                  <a16:creationId xmlns:a16="http://schemas.microsoft.com/office/drawing/2014/main" id="{FB8C5352-CE24-4F13-B938-F2C175A18FA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274341" y="2869406"/>
              <a:ext cx="559912" cy="448424"/>
            </a:xfrm>
            <a:prstGeom prst="rect">
              <a:avLst/>
            </a:prstGeom>
          </p:spPr>
        </p:pic>
      </p:grpSp>
      <p:grpSp>
        <p:nvGrpSpPr>
          <p:cNvPr id="12" name="Group 11">
            <a:extLst>
              <a:ext uri="{FF2B5EF4-FFF2-40B4-BE49-F238E27FC236}">
                <a16:creationId xmlns:a16="http://schemas.microsoft.com/office/drawing/2014/main" id="{413D43C9-9ECD-405A-B7BD-C9D562212B99}"/>
              </a:ext>
            </a:extLst>
          </p:cNvPr>
          <p:cNvGrpSpPr/>
          <p:nvPr/>
        </p:nvGrpSpPr>
        <p:grpSpPr>
          <a:xfrm>
            <a:off x="7099303" y="1897197"/>
            <a:ext cx="772947" cy="772947"/>
            <a:chOff x="9655544" y="2579823"/>
            <a:chExt cx="1051262" cy="1051262"/>
          </a:xfrm>
        </p:grpSpPr>
        <p:sp>
          <p:nvSpPr>
            <p:cNvPr id="237" name="Oval 236">
              <a:extLst>
                <a:ext uri="{FF2B5EF4-FFF2-40B4-BE49-F238E27FC236}">
                  <a16:creationId xmlns:a16="http://schemas.microsoft.com/office/drawing/2014/main" id="{D41D4791-DCD3-4209-80BA-910494E2989E}"/>
                </a:ext>
              </a:extLst>
            </p:cNvPr>
            <p:cNvSpPr/>
            <p:nvPr/>
          </p:nvSpPr>
          <p:spPr bwMode="auto">
            <a:xfrm>
              <a:off x="9655544" y="2579823"/>
              <a:ext cx="1051262" cy="1051262"/>
            </a:xfrm>
            <a:prstGeom prst="ellipse">
              <a:avLst/>
            </a:prstGeom>
            <a:solidFill>
              <a:schemeClr val="bg1"/>
            </a:solidFill>
            <a:ln w="19050" cap="flat" cmpd="sng" algn="ctr">
              <a:solidFill>
                <a:srgbClr val="0B556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11" name="Picture 10">
              <a:extLst>
                <a:ext uri="{FF2B5EF4-FFF2-40B4-BE49-F238E27FC236}">
                  <a16:creationId xmlns:a16="http://schemas.microsoft.com/office/drawing/2014/main" id="{59FB6DD8-EF37-4CCA-90DC-EB39B8D2CFB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861990" y="2822934"/>
              <a:ext cx="638370" cy="565040"/>
            </a:xfrm>
            <a:prstGeom prst="rect">
              <a:avLst/>
            </a:prstGeom>
          </p:spPr>
        </p:pic>
      </p:grpSp>
    </p:spTree>
    <p:extLst>
      <p:ext uri="{BB962C8B-B14F-4D97-AF65-F5344CB8AC3E}">
        <p14:creationId xmlns:p14="http://schemas.microsoft.com/office/powerpoint/2010/main" val="4087275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10" presetClass="entr" presetSubtype="0" fill="hold" nodeType="withEffect">
                                  <p:stCondLst>
                                    <p:cond delay="0"/>
                                  </p:stCondLst>
                                  <p:childTnLst>
                                    <p:set>
                                      <p:cBhvr>
                                        <p:cTn id="14" dur="1" fill="hold">
                                          <p:stCondLst>
                                            <p:cond delay="0"/>
                                          </p:stCondLst>
                                        </p:cTn>
                                        <p:tgtEl>
                                          <p:spTgt spid="187"/>
                                        </p:tgtEl>
                                        <p:attrNameLst>
                                          <p:attrName>style.visibility</p:attrName>
                                        </p:attrNameLst>
                                      </p:cBhvr>
                                      <p:to>
                                        <p:strVal val="visible"/>
                                      </p:to>
                                    </p:set>
                                    <p:animEffect transition="in" filter="fade">
                                      <p:cBhvr>
                                        <p:cTn id="15" dur="500"/>
                                        <p:tgtEl>
                                          <p:spTgt spid="187"/>
                                        </p:tgtEl>
                                      </p:cBhvr>
                                    </p:animEffect>
                                  </p:childTnLst>
                                </p:cTn>
                              </p:par>
                              <p:par>
                                <p:cTn id="16" presetID="10" presetClass="entr" presetSubtype="0" fill="hold" nodeType="withEffect">
                                  <p:stCondLst>
                                    <p:cond delay="0"/>
                                  </p:stCondLst>
                                  <p:childTnLst>
                                    <p:set>
                                      <p:cBhvr>
                                        <p:cTn id="17" dur="1" fill="hold">
                                          <p:stCondLst>
                                            <p:cond delay="0"/>
                                          </p:stCondLst>
                                        </p:cTn>
                                        <p:tgtEl>
                                          <p:spTgt spid="191"/>
                                        </p:tgtEl>
                                        <p:attrNameLst>
                                          <p:attrName>style.visibility</p:attrName>
                                        </p:attrNameLst>
                                      </p:cBhvr>
                                      <p:to>
                                        <p:strVal val="visible"/>
                                      </p:to>
                                    </p:set>
                                    <p:animEffect transition="in" filter="fade">
                                      <p:cBhvr>
                                        <p:cTn id="18" dur="500"/>
                                        <p:tgtEl>
                                          <p:spTgt spid="191"/>
                                        </p:tgtEl>
                                      </p:cBhvr>
                                    </p:animEffect>
                                  </p:childTnLst>
                                </p:cTn>
                              </p:par>
                              <p:par>
                                <p:cTn id="19" presetID="10" presetClass="entr" presetSubtype="0" fill="hold" nodeType="withEffect">
                                  <p:stCondLst>
                                    <p:cond delay="0"/>
                                  </p:stCondLst>
                                  <p:childTnLst>
                                    <p:set>
                                      <p:cBhvr>
                                        <p:cTn id="20" dur="1" fill="hold">
                                          <p:stCondLst>
                                            <p:cond delay="0"/>
                                          </p:stCondLst>
                                        </p:cTn>
                                        <p:tgtEl>
                                          <p:spTgt spid="194"/>
                                        </p:tgtEl>
                                        <p:attrNameLst>
                                          <p:attrName>style.visibility</p:attrName>
                                        </p:attrNameLst>
                                      </p:cBhvr>
                                      <p:to>
                                        <p:strVal val="visible"/>
                                      </p:to>
                                    </p:set>
                                    <p:animEffect transition="in" filter="fade">
                                      <p:cBhvr>
                                        <p:cTn id="21" dur="500"/>
                                        <p:tgtEl>
                                          <p:spTgt spid="194"/>
                                        </p:tgtEl>
                                      </p:cBhvr>
                                    </p:animEffect>
                                  </p:childTnLst>
                                </p:cTn>
                              </p:par>
                              <p:par>
                                <p:cTn id="22" presetID="10" presetClass="entr" presetSubtype="0" fill="hold" nodeType="withEffect">
                                  <p:stCondLst>
                                    <p:cond delay="0"/>
                                  </p:stCondLst>
                                  <p:childTnLst>
                                    <p:set>
                                      <p:cBhvr>
                                        <p:cTn id="23" dur="1" fill="hold">
                                          <p:stCondLst>
                                            <p:cond delay="0"/>
                                          </p:stCondLst>
                                        </p:cTn>
                                        <p:tgtEl>
                                          <p:spTgt spid="197"/>
                                        </p:tgtEl>
                                        <p:attrNameLst>
                                          <p:attrName>style.visibility</p:attrName>
                                        </p:attrNameLst>
                                      </p:cBhvr>
                                      <p:to>
                                        <p:strVal val="visible"/>
                                      </p:to>
                                    </p:set>
                                    <p:animEffect transition="in" filter="fade">
                                      <p:cBhvr>
                                        <p:cTn id="24" dur="500"/>
                                        <p:tgtEl>
                                          <p:spTgt spid="197"/>
                                        </p:tgtEl>
                                      </p:cBhvr>
                                    </p:animEffect>
                                  </p:childTnLst>
                                </p:cTn>
                              </p:par>
                              <p:par>
                                <p:cTn id="25" presetID="10" presetClass="entr" presetSubtype="0" fill="hold" nodeType="withEffect">
                                  <p:stCondLst>
                                    <p:cond delay="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8"/>
                                        </p:tgtEl>
                                        <p:attrNameLst>
                                          <p:attrName>style.visibility</p:attrName>
                                        </p:attrNameLst>
                                      </p:cBhvr>
                                      <p:to>
                                        <p:strVal val="visible"/>
                                      </p:to>
                                    </p:set>
                                    <p:animEffect transition="in" filter="fade">
                                      <p:cBhvr>
                                        <p:cTn id="42" dur="500"/>
                                        <p:tgtEl>
                                          <p:spTgt spid="20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9"/>
                                        </p:tgtEl>
                                        <p:attrNameLst>
                                          <p:attrName>style.visibility</p:attrName>
                                        </p:attrNameLst>
                                      </p:cBhvr>
                                      <p:to>
                                        <p:strVal val="visible"/>
                                      </p:to>
                                    </p:set>
                                    <p:animEffect transition="in" filter="fade">
                                      <p:cBhvr>
                                        <p:cTn id="45" dur="500"/>
                                        <p:tgtEl>
                                          <p:spTgt spid="20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0"/>
                                        </p:tgtEl>
                                        <p:attrNameLst>
                                          <p:attrName>style.visibility</p:attrName>
                                        </p:attrNameLst>
                                      </p:cBhvr>
                                      <p:to>
                                        <p:strVal val="visible"/>
                                      </p:to>
                                    </p:set>
                                    <p:animEffect transition="in" filter="fade">
                                      <p:cBhvr>
                                        <p:cTn id="48" dur="500"/>
                                        <p:tgtEl>
                                          <p:spTgt spid="21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1"/>
                                        </p:tgtEl>
                                        <p:attrNameLst>
                                          <p:attrName>style.visibility</p:attrName>
                                        </p:attrNameLst>
                                      </p:cBhvr>
                                      <p:to>
                                        <p:strVal val="visible"/>
                                      </p:to>
                                    </p:set>
                                    <p:animEffect transition="in" filter="fade">
                                      <p:cBhvr>
                                        <p:cTn id="51"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P spid="208" grpId="0"/>
      <p:bldP spid="209" grpId="0"/>
      <p:bldP spid="210" grpId="0"/>
      <p:bldP spid="2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914681" cy="238613"/>
            </a:xfrm>
            <a:prstGeom prst="rect">
              <a:avLst/>
            </a:prstGeom>
            <a:noFill/>
          </p:spPr>
          <p:txBody>
            <a:bodyPr wrap="square" lIns="0" tIns="0" rIns="0" bIns="0" rtlCol="0" anchor="t">
              <a:spAutoFit/>
            </a:bodyPr>
            <a:lstStyle/>
            <a:p>
              <a:pPr defTabSz="896364">
                <a:defRPr/>
              </a:pPr>
              <a:r>
                <a:rPr lang="en-US" sz="1163" b="1">
                  <a:latin typeface="Segoe UI"/>
                </a:rPr>
                <a:t>Tenant access &amp; isolation</a:t>
              </a:r>
              <a:endParaRPr lang="en-US" sz="1163" b="1">
                <a:latin typeface="Segoe UI"/>
                <a:cs typeface="Segoe UI"/>
              </a:endParaRP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latin typeface="Segoe UI"/>
                </a:rPr>
                <a:t>Environment access &amp; strategy</a:t>
              </a:r>
              <a:endParaRPr lang="en-US" sz="1163">
                <a:latin typeface="Segoe UI"/>
                <a:cs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93482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r>
              <a:rPr lang="en-US" sz="2100" dirty="0"/>
              <a:t>Identity management with Azure Active Directory</a:t>
            </a:r>
            <a:endParaRPr lang="en-US" dirty="0"/>
          </a:p>
        </p:txBody>
      </p:sp>
      <p:pic>
        <p:nvPicPr>
          <p:cNvPr id="19" name="Picture 12" descr="Microsoft Azure - Screenshot">
            <a:extLst>
              <a:ext uri="{FF2B5EF4-FFF2-40B4-BE49-F238E27FC236}">
                <a16:creationId xmlns:a16="http://schemas.microsoft.com/office/drawing/2014/main" id="{8024573B-8628-4DC0-8B89-B72CD6BB324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7246" y="1632277"/>
            <a:ext cx="2587150" cy="1483408"/>
          </a:xfrm>
          <a:prstGeom prst="rect">
            <a:avLst/>
          </a:prstGeom>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721360" y="3421538"/>
            <a:ext cx="2314551" cy="861774"/>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ing Azure Active Directory session and conditional access policies to manage timeout and access requirements.</a:t>
            </a:r>
          </a:p>
        </p:txBody>
      </p:sp>
      <p:pic>
        <p:nvPicPr>
          <p:cNvPr id="21" name="Picture 16" descr="Powerapps - Screenshot">
            <a:extLst>
              <a:ext uri="{FF2B5EF4-FFF2-40B4-BE49-F238E27FC236}">
                <a16:creationId xmlns:a16="http://schemas.microsoft.com/office/drawing/2014/main" id="{AA93F986-FD20-4321-B4DC-4CBBEE5FDE7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337867" y="2027319"/>
            <a:ext cx="2560585" cy="1472846"/>
          </a:xfrm>
          <a:prstGeom prst="rect">
            <a:avLst/>
          </a:prstGeom>
          <a:noFill/>
          <a:ln>
            <a:noFill/>
          </a:ln>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316560" y="3773282"/>
            <a:ext cx="2718057" cy="43088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e Azure Active Directory groups to manage/share apps and data access.</a:t>
            </a:r>
          </a:p>
        </p:txBody>
      </p:sp>
      <p:pic>
        <p:nvPicPr>
          <p:cNvPr id="20" name="Picture 20" descr="Powerapps - Screenshot">
            <a:extLst>
              <a:ext uri="{FF2B5EF4-FFF2-40B4-BE49-F238E27FC236}">
                <a16:creationId xmlns:a16="http://schemas.microsoft.com/office/drawing/2014/main" id="{2FEFB977-B717-4807-9E2B-69818544AA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253" y="1642385"/>
            <a:ext cx="2486227" cy="1472846"/>
          </a:xfrm>
          <a:prstGeom prst="rect">
            <a:avLst/>
          </a:prstGeom>
          <a:ln>
            <a:no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034617" y="3394982"/>
            <a:ext cx="2748846" cy="646331"/>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Share apps with external users with Azure Active Directory B2B collaboration.</a:t>
            </a:r>
          </a:p>
        </p:txBody>
      </p:sp>
    </p:spTree>
    <p:extLst>
      <p:ext uri="{BB962C8B-B14F-4D97-AF65-F5344CB8AC3E}">
        <p14:creationId xmlns:p14="http://schemas.microsoft.com/office/powerpoint/2010/main" val="248447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6B592E75-0BF9-4D72-A6FF-938B69EED7BD}"/>
              </a:ext>
            </a:extLst>
          </p:cNvPr>
          <p:cNvSpPr/>
          <p:nvPr/>
        </p:nvSpPr>
        <p:spPr bwMode="auto">
          <a:xfrm>
            <a:off x="8708968" y="4711106"/>
            <a:ext cx="758693" cy="65404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6CA3B258-6076-4B2E-925D-8B671B2922E4}"/>
              </a:ext>
            </a:extLst>
          </p:cNvPr>
          <p:cNvCxnSpPr/>
          <p:nvPr/>
        </p:nvCxnSpPr>
        <p:spPr>
          <a:xfrm>
            <a:off x="420136" y="3907843"/>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20E440-07C4-422F-AF66-E2BF4B725F93}"/>
              </a:ext>
            </a:extLst>
          </p:cNvPr>
          <p:cNvCxnSpPr/>
          <p:nvPr/>
        </p:nvCxnSpPr>
        <p:spPr>
          <a:xfrm>
            <a:off x="420136" y="4408712"/>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1">
            <a:extLst>
              <a:ext uri="{FF2B5EF4-FFF2-40B4-BE49-F238E27FC236}">
                <a16:creationId xmlns:a16="http://schemas.microsoft.com/office/drawing/2014/main" id="{76582787-B49C-4BFF-9C2A-47BCD6C79172}"/>
              </a:ext>
            </a:extLst>
          </p:cNvPr>
          <p:cNvSpPr txBox="1">
            <a:spLocks/>
          </p:cNvSpPr>
          <p:nvPr/>
        </p:nvSpPr>
        <p:spPr>
          <a:xfrm>
            <a:off x="1014955" y="2557348"/>
            <a:ext cx="3338716" cy="49784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324">
                <a:solidFill>
                  <a:srgbClr val="FFFFFF"/>
                </a:solidFill>
                <a:latin typeface="Segoe UI Semibold"/>
              </a:rPr>
              <a:t>User/Group</a:t>
            </a:r>
          </a:p>
        </p:txBody>
      </p:sp>
      <p:sp>
        <p:nvSpPr>
          <p:cNvPr id="40" name="Freeform: Shape 39">
            <a:extLst>
              <a:ext uri="{FF2B5EF4-FFF2-40B4-BE49-F238E27FC236}">
                <a16:creationId xmlns:a16="http://schemas.microsoft.com/office/drawing/2014/main" id="{2EEB243D-CD31-49CB-9E5B-55A5515424C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882" b="1" err="1">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5FA5CC15-6D15-47D2-994E-A8234D21A45E}"/>
              </a:ext>
            </a:extLst>
          </p:cNvPr>
          <p:cNvSpPr>
            <a:spLocks noGrp="1"/>
          </p:cNvSpPr>
          <p:nvPr>
            <p:ph type="title"/>
          </p:nvPr>
        </p:nvSpPr>
        <p:spPr>
          <a:xfrm>
            <a:off x="257346" y="539058"/>
            <a:ext cx="3510497" cy="615553"/>
          </a:xfrm>
        </p:spPr>
        <p:txBody>
          <a:bodyPr/>
          <a:lstStyle/>
          <a:p>
            <a:r>
              <a:rPr lang="en-US">
                <a:solidFill>
                  <a:schemeClr val="bg1"/>
                </a:solidFill>
              </a:rPr>
              <a:t>Tenant access</a:t>
            </a:r>
            <a:br>
              <a:rPr lang="en-US">
                <a:solidFill>
                  <a:schemeClr val="bg1"/>
                </a:solidFill>
              </a:rPr>
            </a:br>
            <a:r>
              <a:rPr lang="en-US">
                <a:solidFill>
                  <a:schemeClr val="bg1"/>
                </a:solidFill>
              </a:rPr>
              <a:t>AAD Based</a:t>
            </a:r>
          </a:p>
        </p:txBody>
      </p:sp>
      <p:sp>
        <p:nvSpPr>
          <p:cNvPr id="43" name="Freeform: Shape 42">
            <a:extLst>
              <a:ext uri="{FF2B5EF4-FFF2-40B4-BE49-F238E27FC236}">
                <a16:creationId xmlns:a16="http://schemas.microsoft.com/office/drawing/2014/main" id="{F96043A7-E6A0-4DB8-BF14-BA9A9C63867F}"/>
              </a:ext>
            </a:extLst>
          </p:cNvPr>
          <p:cNvSpPr/>
          <p:nvPr/>
        </p:nvSpPr>
        <p:spPr bwMode="auto">
          <a:xfrm>
            <a:off x="1" y="1784050"/>
            <a:ext cx="5700944" cy="3359087"/>
          </a:xfrm>
          <a:custGeom>
            <a:avLst/>
            <a:gdLst>
              <a:gd name="connsiteX0" fmla="*/ 0 w 7753679"/>
              <a:gd name="connsiteY0" fmla="*/ 0 h 4568591"/>
              <a:gd name="connsiteX1" fmla="*/ 5469383 w 7753679"/>
              <a:gd name="connsiteY1" fmla="*/ 0 h 4568591"/>
              <a:gd name="connsiteX2" fmla="*/ 7753679 w 7753679"/>
              <a:gd name="connsiteY2" fmla="*/ 4568591 h 4568591"/>
              <a:gd name="connsiteX3" fmla="*/ 0 w 7753679"/>
              <a:gd name="connsiteY3" fmla="*/ 4568591 h 4568591"/>
              <a:gd name="connsiteX0" fmla="*/ 0 w 7753679"/>
              <a:gd name="connsiteY0" fmla="*/ 4568591 h 4660031"/>
              <a:gd name="connsiteX1" fmla="*/ 0 w 7753679"/>
              <a:gd name="connsiteY1" fmla="*/ 0 h 4660031"/>
              <a:gd name="connsiteX2" fmla="*/ 5469383 w 7753679"/>
              <a:gd name="connsiteY2" fmla="*/ 0 h 4660031"/>
              <a:gd name="connsiteX3" fmla="*/ 7753679 w 7753679"/>
              <a:gd name="connsiteY3" fmla="*/ 4568591 h 4660031"/>
              <a:gd name="connsiteX4" fmla="*/ 91440 w 7753679"/>
              <a:gd name="connsiteY4" fmla="*/ 4660031 h 4660031"/>
              <a:gd name="connsiteX0" fmla="*/ 0 w 7753679"/>
              <a:gd name="connsiteY0" fmla="*/ 4568591 h 4568591"/>
              <a:gd name="connsiteX1" fmla="*/ 0 w 7753679"/>
              <a:gd name="connsiteY1" fmla="*/ 0 h 4568591"/>
              <a:gd name="connsiteX2" fmla="*/ 5469383 w 7753679"/>
              <a:gd name="connsiteY2" fmla="*/ 0 h 4568591"/>
              <a:gd name="connsiteX3" fmla="*/ 7753679 w 7753679"/>
              <a:gd name="connsiteY3" fmla="*/ 4568591 h 4568591"/>
              <a:gd name="connsiteX0" fmla="*/ 0 w 7753679"/>
              <a:gd name="connsiteY0" fmla="*/ 0 h 4568591"/>
              <a:gd name="connsiteX1" fmla="*/ 5469383 w 7753679"/>
              <a:gd name="connsiteY1" fmla="*/ 0 h 4568591"/>
              <a:gd name="connsiteX2" fmla="*/ 7753679 w 7753679"/>
              <a:gd name="connsiteY2" fmla="*/ 4568591 h 4568591"/>
            </a:gdLst>
            <a:ahLst/>
            <a:cxnLst>
              <a:cxn ang="0">
                <a:pos x="connsiteX0" y="connsiteY0"/>
              </a:cxn>
              <a:cxn ang="0">
                <a:pos x="connsiteX1" y="connsiteY1"/>
              </a:cxn>
              <a:cxn ang="0">
                <a:pos x="connsiteX2" y="connsiteY2"/>
              </a:cxn>
            </a:cxnLst>
            <a:rect l="l" t="t" r="r" b="b"/>
            <a:pathLst>
              <a:path w="7753679" h="4568591">
                <a:moveTo>
                  <a:pt x="0" y="0"/>
                </a:moveTo>
                <a:lnTo>
                  <a:pt x="5469383" y="0"/>
                </a:lnTo>
                <a:lnTo>
                  <a:pt x="7753679"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EA2DA573-FAB2-4652-8BB1-A2617484971E}"/>
              </a:ext>
            </a:extLst>
          </p:cNvPr>
          <p:cNvGrpSpPr/>
          <p:nvPr/>
        </p:nvGrpSpPr>
        <p:grpSpPr>
          <a:xfrm>
            <a:off x="4497956" y="1211052"/>
            <a:ext cx="4635175" cy="3082113"/>
            <a:chOff x="5801277" y="1697755"/>
            <a:chExt cx="6467004" cy="4191888"/>
          </a:xfrm>
        </p:grpSpPr>
        <p:pic>
          <p:nvPicPr>
            <p:cNvPr id="7" name="Picture 6">
              <a:extLst>
                <a:ext uri="{FF2B5EF4-FFF2-40B4-BE49-F238E27FC236}">
                  <a16:creationId xmlns:a16="http://schemas.microsoft.com/office/drawing/2014/main" id="{9AAE8E48-0A6A-478F-B488-1F61AB845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384"/>
            <a:stretch/>
          </p:blipFill>
          <p:spPr>
            <a:xfrm>
              <a:off x="5947018" y="1866900"/>
              <a:ext cx="6175523" cy="3848100"/>
            </a:xfrm>
            <a:prstGeom prst="rect">
              <a:avLst/>
            </a:prstGeom>
            <a:ln>
              <a:solidFill>
                <a:schemeClr val="tx1"/>
              </a:solidFill>
            </a:ln>
          </p:spPr>
        </p:pic>
        <p:sp>
          <p:nvSpPr>
            <p:cNvPr id="25" name="Freeform: Shape 24">
              <a:extLst>
                <a:ext uri="{FF2B5EF4-FFF2-40B4-BE49-F238E27FC236}">
                  <a16:creationId xmlns:a16="http://schemas.microsoft.com/office/drawing/2014/main" id="{B360DF80-2F19-4B60-953A-D451BA4A119D}"/>
                </a:ext>
              </a:extLst>
            </p:cNvPr>
            <p:cNvSpPr/>
            <p:nvPr/>
          </p:nvSpPr>
          <p:spPr>
            <a:xfrm flipH="1">
              <a:off x="5801277" y="1697755"/>
              <a:ext cx="6467004" cy="4191888"/>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sp>
        <p:nvSpPr>
          <p:cNvPr id="30" name="TextBox 29">
            <a:extLst>
              <a:ext uri="{FF2B5EF4-FFF2-40B4-BE49-F238E27FC236}">
                <a16:creationId xmlns:a16="http://schemas.microsoft.com/office/drawing/2014/main" id="{D682BE24-14FE-4103-ADD8-9020AC0CC103}"/>
              </a:ext>
            </a:extLst>
          </p:cNvPr>
          <p:cNvSpPr txBox="1"/>
          <p:nvPr/>
        </p:nvSpPr>
        <p:spPr>
          <a:xfrm>
            <a:off x="-50156" y="1684549"/>
            <a:ext cx="4426119" cy="1798830"/>
          </a:xfrm>
          <a:prstGeom prst="rect">
            <a:avLst/>
          </a:prstGeom>
          <a:noFill/>
        </p:spPr>
        <p:txBody>
          <a:bodyPr wrap="square" lIns="134464" tIns="107571" rIns="134464" bIns="107571" rtlCol="0" anchor="t">
            <a:spAutoFit/>
          </a:bodyPr>
          <a:lstStyle/>
          <a:p>
            <a:pPr marL="257175" indent="-257175">
              <a:buFont typeface="Arial" panose="020B0604020202020204" pitchFamily="34" charset="0"/>
              <a:buChar char="•"/>
            </a:pPr>
            <a:r>
              <a:rPr lang="en-US" sz="1463">
                <a:ea typeface="+mn-lt"/>
                <a:cs typeface="+mn-lt"/>
              </a:rPr>
              <a:t>Authentication through Azure Active Directory - need to sign in with work or school Azure AD account</a:t>
            </a:r>
            <a:endParaRPr lang="en-US" sz="1471">
              <a:solidFill>
                <a:srgbClr val="3C3C41"/>
              </a:solidFill>
              <a:latin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token policies; issuance and token refresh</a:t>
            </a:r>
            <a:endParaRPr lang="en-US" sz="1463">
              <a:solidFill>
                <a:srgbClr val="3C3C41"/>
              </a:solidFill>
              <a:latin typeface="Segoe UI"/>
              <a:cs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Conditional access for extending the security perimeter to include:</a:t>
            </a:r>
            <a:endParaRPr lang="en-US" sz="1463">
              <a:solidFill>
                <a:srgbClr val="3C3C41"/>
              </a:solidFill>
              <a:latin typeface="Segoe UI"/>
              <a:cs typeface="Segoe UI"/>
            </a:endParaRPr>
          </a:p>
        </p:txBody>
      </p:sp>
      <p:sp>
        <p:nvSpPr>
          <p:cNvPr id="46" name="Hexagon 45">
            <a:extLst>
              <a:ext uri="{FF2B5EF4-FFF2-40B4-BE49-F238E27FC236}">
                <a16:creationId xmlns:a16="http://schemas.microsoft.com/office/drawing/2014/main" id="{B8734438-C424-4734-ABD3-C6AFD0A8F446}"/>
              </a:ext>
            </a:extLst>
          </p:cNvPr>
          <p:cNvSpPr/>
          <p:nvPr/>
        </p:nvSpPr>
        <p:spPr bwMode="auto">
          <a:xfrm>
            <a:off x="8285086" y="4711106"/>
            <a:ext cx="542273" cy="46747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C752E509-27C0-4041-B1DF-67A2FD2FACA4}"/>
              </a:ext>
            </a:extLst>
          </p:cNvPr>
          <p:cNvSpPr/>
          <p:nvPr/>
        </p:nvSpPr>
        <p:spPr bwMode="auto">
          <a:xfrm>
            <a:off x="8744369" y="4524535"/>
            <a:ext cx="390149" cy="33633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 Placeholder 1">
            <a:extLst>
              <a:ext uri="{FF2B5EF4-FFF2-40B4-BE49-F238E27FC236}">
                <a16:creationId xmlns:a16="http://schemas.microsoft.com/office/drawing/2014/main" id="{5BFE8A4C-F779-4EB4-994F-65C862BCA8E7}"/>
              </a:ext>
            </a:extLst>
          </p:cNvPr>
          <p:cNvSpPr txBox="1">
            <a:spLocks/>
          </p:cNvSpPr>
          <p:nvPr/>
        </p:nvSpPr>
        <p:spPr>
          <a:xfrm>
            <a:off x="1046444" y="36395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User/Group</a:t>
            </a:r>
          </a:p>
        </p:txBody>
      </p:sp>
      <p:sp>
        <p:nvSpPr>
          <p:cNvPr id="31" name="Text Placeholder 1">
            <a:extLst>
              <a:ext uri="{FF2B5EF4-FFF2-40B4-BE49-F238E27FC236}">
                <a16:creationId xmlns:a16="http://schemas.microsoft.com/office/drawing/2014/main" id="{F1A7D6C9-44DE-44F7-8867-45889A67784C}"/>
              </a:ext>
            </a:extLst>
          </p:cNvPr>
          <p:cNvSpPr txBox="1">
            <a:spLocks/>
          </p:cNvSpPr>
          <p:nvPr/>
        </p:nvSpPr>
        <p:spPr>
          <a:xfrm>
            <a:off x="1046444" y="4070052"/>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Device</a:t>
            </a:r>
          </a:p>
        </p:txBody>
      </p:sp>
      <p:grpSp>
        <p:nvGrpSpPr>
          <p:cNvPr id="35" name="Group 34">
            <a:extLst>
              <a:ext uri="{FF2B5EF4-FFF2-40B4-BE49-F238E27FC236}">
                <a16:creationId xmlns:a16="http://schemas.microsoft.com/office/drawing/2014/main" id="{8170AAC2-6101-4087-990F-1F15F9BD61A0}"/>
              </a:ext>
            </a:extLst>
          </p:cNvPr>
          <p:cNvGrpSpPr/>
          <p:nvPr/>
        </p:nvGrpSpPr>
        <p:grpSpPr>
          <a:xfrm>
            <a:off x="363382" y="4045273"/>
            <a:ext cx="413471" cy="275900"/>
            <a:chOff x="13375104" y="3497262"/>
            <a:chExt cx="457200" cy="305079"/>
          </a:xfrm>
        </p:grpSpPr>
        <p:sp>
          <p:nvSpPr>
            <p:cNvPr id="41" name="Laptop_E770" title="Icon of a laptop">
              <a:extLst>
                <a:ext uri="{FF2B5EF4-FFF2-40B4-BE49-F238E27FC236}">
                  <a16:creationId xmlns:a16="http://schemas.microsoft.com/office/drawing/2014/main" id="{76414DBB-A472-4C38-A0B2-79DA560AAE0C}"/>
                </a:ext>
              </a:extLst>
            </p:cNvPr>
            <p:cNvSpPr>
              <a:spLocks noChangeAspect="1" noEditPoints="1"/>
            </p:cNvSpPr>
            <p:nvPr/>
          </p:nvSpPr>
          <p:spPr bwMode="auto">
            <a:xfrm>
              <a:off x="13375104" y="3497262"/>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solidFill>
                  <a:srgbClr val="3C3C41"/>
                </a:solidFill>
                <a:latin typeface="Segoe UI"/>
              </a:endParaRPr>
            </a:p>
          </p:txBody>
        </p:sp>
        <p:sp>
          <p:nvSpPr>
            <p:cNvPr id="42" name="Touch_E815" title="Icon of a closed hand with one finger pressing a button">
              <a:extLst>
                <a:ext uri="{FF2B5EF4-FFF2-40B4-BE49-F238E27FC236}">
                  <a16:creationId xmlns:a16="http://schemas.microsoft.com/office/drawing/2014/main" id="{5E0F67C9-8FF7-49D8-BEF4-14C6B632051C}"/>
                </a:ext>
              </a:extLst>
            </p:cNvPr>
            <p:cNvSpPr>
              <a:spLocks noChangeAspect="1" noEditPoints="1"/>
            </p:cNvSpPr>
            <p:nvPr/>
          </p:nvSpPr>
          <p:spPr bwMode="auto">
            <a:xfrm>
              <a:off x="13550281" y="3523986"/>
              <a:ext cx="106846" cy="156154"/>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sp>
        <p:nvSpPr>
          <p:cNvPr id="32" name="Text Placeholder 1">
            <a:extLst>
              <a:ext uri="{FF2B5EF4-FFF2-40B4-BE49-F238E27FC236}">
                <a16:creationId xmlns:a16="http://schemas.microsoft.com/office/drawing/2014/main" id="{6195D53C-63B3-4BFE-8531-A4079AD115D0}"/>
              </a:ext>
            </a:extLst>
          </p:cNvPr>
          <p:cNvSpPr txBox="1">
            <a:spLocks/>
          </p:cNvSpPr>
          <p:nvPr/>
        </p:nvSpPr>
        <p:spPr>
          <a:xfrm>
            <a:off x="1046444" y="44732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Location</a:t>
            </a:r>
          </a:p>
        </p:txBody>
      </p:sp>
      <p:grpSp>
        <p:nvGrpSpPr>
          <p:cNvPr id="48" name="Group 47">
            <a:extLst>
              <a:ext uri="{FF2B5EF4-FFF2-40B4-BE49-F238E27FC236}">
                <a16:creationId xmlns:a16="http://schemas.microsoft.com/office/drawing/2014/main" id="{A0170E5F-4B20-4FDE-81CD-C40497524FAF}"/>
              </a:ext>
            </a:extLst>
          </p:cNvPr>
          <p:cNvGrpSpPr/>
          <p:nvPr/>
        </p:nvGrpSpPr>
        <p:grpSpPr>
          <a:xfrm>
            <a:off x="419352" y="4387944"/>
            <a:ext cx="301530" cy="336815"/>
            <a:chOff x="6085076" y="3345051"/>
            <a:chExt cx="268605" cy="300038"/>
          </a:xfrm>
        </p:grpSpPr>
        <p:sp>
          <p:nvSpPr>
            <p:cNvPr id="49" name="Freeform: Shape 48">
              <a:extLst>
                <a:ext uri="{FF2B5EF4-FFF2-40B4-BE49-F238E27FC236}">
                  <a16:creationId xmlns:a16="http://schemas.microsoft.com/office/drawing/2014/main" id="{EA3A0E3C-8D49-49F4-B97D-2502F72F150F}"/>
                </a:ext>
              </a:extLst>
            </p:cNvPr>
            <p:cNvSpPr/>
            <p:nvPr/>
          </p:nvSpPr>
          <p:spPr>
            <a:xfrm>
              <a:off x="6085076" y="3382961"/>
              <a:ext cx="268605" cy="262128"/>
            </a:xfrm>
            <a:custGeom>
              <a:avLst/>
              <a:gdLst>
                <a:gd name="connsiteX0" fmla="*/ 175451 w 268605"/>
                <a:gd name="connsiteY0" fmla="*/ 0 h 262128"/>
                <a:gd name="connsiteX1" fmla="*/ 268605 w 268605"/>
                <a:gd name="connsiteY1" fmla="*/ 127826 h 262128"/>
                <a:gd name="connsiteX2" fmla="*/ 134303 w 268605"/>
                <a:gd name="connsiteY2" fmla="*/ 262128 h 262128"/>
                <a:gd name="connsiteX3" fmla="*/ 0 w 268605"/>
                <a:gd name="connsiteY3" fmla="*/ 127826 h 262128"/>
                <a:gd name="connsiteX4" fmla="*/ 80391 w 268605"/>
                <a:gd name="connsiteY4" fmla="*/ 4763 h 26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5" h="262128">
                  <a:moveTo>
                    <a:pt x="175451" y="0"/>
                  </a:moveTo>
                  <a:cubicBezTo>
                    <a:pt x="229457" y="17336"/>
                    <a:pt x="268605" y="68104"/>
                    <a:pt x="268605" y="127826"/>
                  </a:cubicBezTo>
                  <a:cubicBezTo>
                    <a:pt x="268605" y="202025"/>
                    <a:pt x="208502" y="262128"/>
                    <a:pt x="134303" y="262128"/>
                  </a:cubicBezTo>
                  <a:cubicBezTo>
                    <a:pt x="60103" y="262128"/>
                    <a:pt x="0" y="202025"/>
                    <a:pt x="0" y="127826"/>
                  </a:cubicBezTo>
                  <a:cubicBezTo>
                    <a:pt x="-95" y="72866"/>
                    <a:pt x="33052" y="25527"/>
                    <a:pt x="80391" y="4763"/>
                  </a:cubicBez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nvGrpSpPr>
            <p:cNvPr id="50" name="Graphic 39">
              <a:extLst>
                <a:ext uri="{FF2B5EF4-FFF2-40B4-BE49-F238E27FC236}">
                  <a16:creationId xmlns:a16="http://schemas.microsoft.com/office/drawing/2014/main" id="{C7399F7B-E73A-4600-AFD7-104B7F43F1F2}"/>
                </a:ext>
              </a:extLst>
            </p:cNvPr>
            <p:cNvGrpSpPr/>
            <p:nvPr/>
          </p:nvGrpSpPr>
          <p:grpSpPr>
            <a:xfrm>
              <a:off x="6168230" y="3345051"/>
              <a:ext cx="90678" cy="127420"/>
              <a:chOff x="6168230" y="3345051"/>
              <a:chExt cx="90678" cy="127420"/>
            </a:xfrm>
            <a:noFill/>
          </p:grpSpPr>
          <p:sp>
            <p:nvSpPr>
              <p:cNvPr id="53" name="Freeform: Shape 52">
                <a:extLst>
                  <a:ext uri="{FF2B5EF4-FFF2-40B4-BE49-F238E27FC236}">
                    <a16:creationId xmlns:a16="http://schemas.microsoft.com/office/drawing/2014/main" id="{A91B7AF7-C86E-496C-A5B1-2537544E307C}"/>
                  </a:ext>
                </a:extLst>
              </p:cNvPr>
              <p:cNvSpPr/>
              <p:nvPr/>
            </p:nvSpPr>
            <p:spPr>
              <a:xfrm>
                <a:off x="6168230" y="3345051"/>
                <a:ext cx="90678" cy="127420"/>
              </a:xfrm>
              <a:custGeom>
                <a:avLst/>
                <a:gdLst>
                  <a:gd name="connsiteX0" fmla="*/ 0 w 90678"/>
                  <a:gd name="connsiteY0" fmla="*/ 44482 h 127420"/>
                  <a:gd name="connsiteX1" fmla="*/ 45339 w 90678"/>
                  <a:gd name="connsiteY1" fmla="*/ 0 h 127420"/>
                  <a:gd name="connsiteX2" fmla="*/ 90678 w 90678"/>
                  <a:gd name="connsiteY2" fmla="*/ 44482 h 127420"/>
                  <a:gd name="connsiteX3" fmla="*/ 47911 w 90678"/>
                  <a:gd name="connsiteY3" fmla="*/ 126206 h 127420"/>
                  <a:gd name="connsiteX4" fmla="*/ 42767 w 90678"/>
                  <a:gd name="connsiteY4" fmla="*/ 126206 h 127420"/>
                  <a:gd name="connsiteX5" fmla="*/ 0 w 90678"/>
                  <a:gd name="connsiteY5" fmla="*/ 44482 h 12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8" h="127420">
                    <a:moveTo>
                      <a:pt x="0" y="44482"/>
                    </a:moveTo>
                    <a:cubicBezTo>
                      <a:pt x="0" y="19907"/>
                      <a:pt x="20288" y="0"/>
                      <a:pt x="45339" y="0"/>
                    </a:cubicBezTo>
                    <a:cubicBezTo>
                      <a:pt x="70390" y="0"/>
                      <a:pt x="90678" y="19907"/>
                      <a:pt x="90678" y="44482"/>
                    </a:cubicBezTo>
                    <a:cubicBezTo>
                      <a:pt x="90678" y="73819"/>
                      <a:pt x="57531" y="114967"/>
                      <a:pt x="47911" y="126206"/>
                    </a:cubicBezTo>
                    <a:cubicBezTo>
                      <a:pt x="46577" y="127826"/>
                      <a:pt x="44101" y="127826"/>
                      <a:pt x="42767" y="126206"/>
                    </a:cubicBezTo>
                    <a:cubicBezTo>
                      <a:pt x="33147" y="114967"/>
                      <a:pt x="0" y="73819"/>
                      <a:pt x="0" y="44482"/>
                    </a:cubicBez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4" name="Freeform: Shape 53">
                <a:extLst>
                  <a:ext uri="{FF2B5EF4-FFF2-40B4-BE49-F238E27FC236}">
                    <a16:creationId xmlns:a16="http://schemas.microsoft.com/office/drawing/2014/main" id="{C5BC8CB2-1EC3-48FC-83A1-C86AEC969632}"/>
                  </a:ext>
                </a:extLst>
              </p:cNvPr>
              <p:cNvSpPr/>
              <p:nvPr/>
            </p:nvSpPr>
            <p:spPr>
              <a:xfrm>
                <a:off x="6185660" y="3361530"/>
                <a:ext cx="55816" cy="55626"/>
              </a:xfrm>
              <a:custGeom>
                <a:avLst/>
                <a:gdLst>
                  <a:gd name="connsiteX0" fmla="*/ 27908 w 55816"/>
                  <a:gd name="connsiteY0" fmla="*/ 55626 h 55626"/>
                  <a:gd name="connsiteX1" fmla="*/ 27908 w 55816"/>
                  <a:gd name="connsiteY1" fmla="*/ 55626 h 55626"/>
                  <a:gd name="connsiteX2" fmla="*/ 0 w 55816"/>
                  <a:gd name="connsiteY2" fmla="*/ 27813 h 55626"/>
                  <a:gd name="connsiteX3" fmla="*/ 27908 w 55816"/>
                  <a:gd name="connsiteY3" fmla="*/ 0 h 55626"/>
                  <a:gd name="connsiteX4" fmla="*/ 55817 w 55816"/>
                  <a:gd name="connsiteY4" fmla="*/ 27813 h 55626"/>
                  <a:gd name="connsiteX5" fmla="*/ 27908 w 55816"/>
                  <a:gd name="connsiteY5" fmla="*/ 55626 h 55626"/>
                  <a:gd name="connsiteX6" fmla="*/ 27908 w 55816"/>
                  <a:gd name="connsiteY6" fmla="*/ 55626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16" h="55626">
                    <a:moveTo>
                      <a:pt x="27908" y="55626"/>
                    </a:moveTo>
                    <a:lnTo>
                      <a:pt x="27908" y="55626"/>
                    </a:lnTo>
                    <a:cubicBezTo>
                      <a:pt x="12573" y="55626"/>
                      <a:pt x="0" y="43148"/>
                      <a:pt x="0" y="27813"/>
                    </a:cubicBezTo>
                    <a:cubicBezTo>
                      <a:pt x="0" y="12478"/>
                      <a:pt x="12478" y="0"/>
                      <a:pt x="27908" y="0"/>
                    </a:cubicBezTo>
                    <a:cubicBezTo>
                      <a:pt x="43339" y="0"/>
                      <a:pt x="55817" y="12478"/>
                      <a:pt x="55817" y="27813"/>
                    </a:cubicBezTo>
                    <a:cubicBezTo>
                      <a:pt x="55817" y="43148"/>
                      <a:pt x="43339" y="55626"/>
                      <a:pt x="27908" y="55626"/>
                    </a:cubicBezTo>
                    <a:lnTo>
                      <a:pt x="27908" y="55626"/>
                    </a:ln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51" name="Freeform: Shape 50">
              <a:extLst>
                <a:ext uri="{FF2B5EF4-FFF2-40B4-BE49-F238E27FC236}">
                  <a16:creationId xmlns:a16="http://schemas.microsoft.com/office/drawing/2014/main" id="{8EE579B4-95A8-4CB5-A0F7-2515E5E4419E}"/>
                </a:ext>
              </a:extLst>
            </p:cNvPr>
            <p:cNvSpPr/>
            <p:nvPr/>
          </p:nvSpPr>
          <p:spPr>
            <a:xfrm>
              <a:off x="6135559" y="3408869"/>
              <a:ext cx="33527" cy="9525"/>
            </a:xfrm>
            <a:custGeom>
              <a:avLst/>
              <a:gdLst>
                <a:gd name="connsiteX0" fmla="*/ 0 w 33527"/>
                <a:gd name="connsiteY0" fmla="*/ 0 h 9525"/>
                <a:gd name="connsiteX1" fmla="*/ 33528 w 33527"/>
                <a:gd name="connsiteY1" fmla="*/ 0 h 9525"/>
              </a:gdLst>
              <a:ahLst/>
              <a:cxnLst>
                <a:cxn ang="0">
                  <a:pos x="connsiteX0" y="connsiteY0"/>
                </a:cxn>
                <a:cxn ang="0">
                  <a:pos x="connsiteX1" y="connsiteY1"/>
                </a:cxn>
              </a:cxnLst>
              <a:rect l="l" t="t" r="r" b="b"/>
              <a:pathLst>
                <a:path w="33527" h="9525">
                  <a:moveTo>
                    <a:pt x="0" y="0"/>
                  </a:moveTo>
                  <a:lnTo>
                    <a:pt x="33528" y="0"/>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2" name="Freeform: Shape 51">
              <a:extLst>
                <a:ext uri="{FF2B5EF4-FFF2-40B4-BE49-F238E27FC236}">
                  <a16:creationId xmlns:a16="http://schemas.microsoft.com/office/drawing/2014/main" id="{BEB251E6-E0CC-466C-9F44-21156D1FBA28}"/>
                </a:ext>
              </a:extLst>
            </p:cNvPr>
            <p:cNvSpPr/>
            <p:nvPr/>
          </p:nvSpPr>
          <p:spPr>
            <a:xfrm>
              <a:off x="6119652" y="3424300"/>
              <a:ext cx="230409" cy="198168"/>
            </a:xfrm>
            <a:custGeom>
              <a:avLst/>
              <a:gdLst>
                <a:gd name="connsiteX0" fmla="*/ 112395 w 230409"/>
                <a:gd name="connsiteY0" fmla="*/ 30671 h 198168"/>
                <a:gd name="connsiteX1" fmla="*/ 117253 w 230409"/>
                <a:gd name="connsiteY1" fmla="*/ 35528 h 198168"/>
                <a:gd name="connsiteX2" fmla="*/ 118205 w 230409"/>
                <a:gd name="connsiteY2" fmla="*/ 37909 h 198168"/>
                <a:gd name="connsiteX3" fmla="*/ 118205 w 230409"/>
                <a:gd name="connsiteY3" fmla="*/ 57340 h 198168"/>
                <a:gd name="connsiteX4" fmla="*/ 114871 w 230409"/>
                <a:gd name="connsiteY4" fmla="*/ 60674 h 198168"/>
                <a:gd name="connsiteX5" fmla="*/ 107252 w 230409"/>
                <a:gd name="connsiteY5" fmla="*/ 60674 h 198168"/>
                <a:gd name="connsiteX6" fmla="*/ 104870 w 230409"/>
                <a:gd name="connsiteY6" fmla="*/ 61627 h 198168"/>
                <a:gd name="connsiteX7" fmla="*/ 93821 w 230409"/>
                <a:gd name="connsiteY7" fmla="*/ 72676 h 198168"/>
                <a:gd name="connsiteX8" fmla="*/ 92869 w 230409"/>
                <a:gd name="connsiteY8" fmla="*/ 75057 h 198168"/>
                <a:gd name="connsiteX9" fmla="*/ 92869 w 230409"/>
                <a:gd name="connsiteY9" fmla="*/ 76962 h 198168"/>
                <a:gd name="connsiteX10" fmla="*/ 89535 w 230409"/>
                <a:gd name="connsiteY10" fmla="*/ 80296 h 198168"/>
                <a:gd name="connsiteX11" fmla="*/ 81820 w 230409"/>
                <a:gd name="connsiteY11" fmla="*/ 80296 h 198168"/>
                <a:gd name="connsiteX12" fmla="*/ 79439 w 230409"/>
                <a:gd name="connsiteY12" fmla="*/ 81248 h 198168"/>
                <a:gd name="connsiteX13" fmla="*/ 68771 w 230409"/>
                <a:gd name="connsiteY13" fmla="*/ 91916 h 198168"/>
                <a:gd name="connsiteX14" fmla="*/ 67818 w 230409"/>
                <a:gd name="connsiteY14" fmla="*/ 94298 h 198168"/>
                <a:gd name="connsiteX15" fmla="*/ 67818 w 230409"/>
                <a:gd name="connsiteY15" fmla="*/ 97727 h 198168"/>
                <a:gd name="connsiteX16" fmla="*/ 66866 w 230409"/>
                <a:gd name="connsiteY16" fmla="*/ 100108 h 198168"/>
                <a:gd name="connsiteX17" fmla="*/ 62674 w 230409"/>
                <a:gd name="connsiteY17" fmla="*/ 104299 h 198168"/>
                <a:gd name="connsiteX18" fmla="*/ 60293 w 230409"/>
                <a:gd name="connsiteY18" fmla="*/ 105251 h 198168"/>
                <a:gd name="connsiteX19" fmla="*/ 56674 w 230409"/>
                <a:gd name="connsiteY19" fmla="*/ 105251 h 198168"/>
                <a:gd name="connsiteX20" fmla="*/ 54007 w 230409"/>
                <a:gd name="connsiteY20" fmla="*/ 103918 h 198168"/>
                <a:gd name="connsiteX21" fmla="*/ 36767 w 230409"/>
                <a:gd name="connsiteY21" fmla="*/ 81534 h 198168"/>
                <a:gd name="connsiteX22" fmla="*/ 34100 w 230409"/>
                <a:gd name="connsiteY22" fmla="*/ 80201 h 198168"/>
                <a:gd name="connsiteX23" fmla="*/ 25146 w 230409"/>
                <a:gd name="connsiteY23" fmla="*/ 80201 h 198168"/>
                <a:gd name="connsiteX24" fmla="*/ 22765 w 230409"/>
                <a:gd name="connsiteY24" fmla="*/ 79248 h 198168"/>
                <a:gd name="connsiteX25" fmla="*/ 18098 w 230409"/>
                <a:gd name="connsiteY25" fmla="*/ 74867 h 198168"/>
                <a:gd name="connsiteX26" fmla="*/ 17145 w 230409"/>
                <a:gd name="connsiteY26" fmla="*/ 72485 h 198168"/>
                <a:gd name="connsiteX27" fmla="*/ 17145 w 230409"/>
                <a:gd name="connsiteY27" fmla="*/ 56483 h 198168"/>
                <a:gd name="connsiteX28" fmla="*/ 18098 w 230409"/>
                <a:gd name="connsiteY28" fmla="*/ 54102 h 198168"/>
                <a:gd name="connsiteX29" fmla="*/ 22574 w 230409"/>
                <a:gd name="connsiteY29" fmla="*/ 49625 h 198168"/>
                <a:gd name="connsiteX30" fmla="*/ 23527 w 230409"/>
                <a:gd name="connsiteY30" fmla="*/ 47244 h 198168"/>
                <a:gd name="connsiteX31" fmla="*/ 23527 w 230409"/>
                <a:gd name="connsiteY31" fmla="*/ 43434 h 198168"/>
                <a:gd name="connsiteX32" fmla="*/ 22574 w 230409"/>
                <a:gd name="connsiteY32" fmla="*/ 41053 h 198168"/>
                <a:gd name="connsiteX33" fmla="*/ 17621 w 230409"/>
                <a:gd name="connsiteY33" fmla="*/ 36004 h 198168"/>
                <a:gd name="connsiteX34" fmla="*/ 16669 w 230409"/>
                <a:gd name="connsiteY34" fmla="*/ 33623 h 198168"/>
                <a:gd name="connsiteX35" fmla="*/ 16669 w 230409"/>
                <a:gd name="connsiteY35" fmla="*/ 18002 h 198168"/>
                <a:gd name="connsiteX36" fmla="*/ 15716 w 230409"/>
                <a:gd name="connsiteY36" fmla="*/ 15621 h 198168"/>
                <a:gd name="connsiteX37" fmla="*/ 0 w 230409"/>
                <a:gd name="connsiteY37" fmla="*/ 0 h 198168"/>
                <a:gd name="connsiteX38" fmla="*/ 104680 w 230409"/>
                <a:gd name="connsiteY38" fmla="*/ 195643 h 198168"/>
                <a:gd name="connsiteX39" fmla="*/ 105632 w 230409"/>
                <a:gd name="connsiteY39" fmla="*/ 193358 h 198168"/>
                <a:gd name="connsiteX40" fmla="*/ 105632 w 230409"/>
                <a:gd name="connsiteY40" fmla="*/ 188595 h 198168"/>
                <a:gd name="connsiteX41" fmla="*/ 105632 w 230409"/>
                <a:gd name="connsiteY41" fmla="*/ 178403 h 198168"/>
                <a:gd name="connsiteX42" fmla="*/ 106585 w 230409"/>
                <a:gd name="connsiteY42" fmla="*/ 176022 h 198168"/>
                <a:gd name="connsiteX43" fmla="*/ 110776 w 230409"/>
                <a:gd name="connsiteY43" fmla="*/ 171831 h 198168"/>
                <a:gd name="connsiteX44" fmla="*/ 111728 w 230409"/>
                <a:gd name="connsiteY44" fmla="*/ 169450 h 198168"/>
                <a:gd name="connsiteX45" fmla="*/ 111728 w 230409"/>
                <a:gd name="connsiteY45" fmla="*/ 166402 h 198168"/>
                <a:gd name="connsiteX46" fmla="*/ 112681 w 230409"/>
                <a:gd name="connsiteY46" fmla="*/ 164021 h 198168"/>
                <a:gd name="connsiteX47" fmla="*/ 129159 w 230409"/>
                <a:gd name="connsiteY47" fmla="*/ 147542 h 198168"/>
                <a:gd name="connsiteX48" fmla="*/ 130111 w 230409"/>
                <a:gd name="connsiteY48" fmla="*/ 145161 h 198168"/>
                <a:gd name="connsiteX49" fmla="*/ 130111 w 230409"/>
                <a:gd name="connsiteY49" fmla="*/ 134588 h 198168"/>
                <a:gd name="connsiteX50" fmla="*/ 129159 w 230409"/>
                <a:gd name="connsiteY50" fmla="*/ 132207 h 198168"/>
                <a:gd name="connsiteX51" fmla="*/ 106013 w 230409"/>
                <a:gd name="connsiteY51" fmla="*/ 109061 h 198168"/>
                <a:gd name="connsiteX52" fmla="*/ 103632 w 230409"/>
                <a:gd name="connsiteY52" fmla="*/ 108109 h 198168"/>
                <a:gd name="connsiteX53" fmla="*/ 88487 w 230409"/>
                <a:gd name="connsiteY53" fmla="*/ 108109 h 198168"/>
                <a:gd name="connsiteX54" fmla="*/ 86106 w 230409"/>
                <a:gd name="connsiteY54" fmla="*/ 109061 h 198168"/>
                <a:gd name="connsiteX55" fmla="*/ 75438 w 230409"/>
                <a:gd name="connsiteY55" fmla="*/ 119729 h 198168"/>
                <a:gd name="connsiteX56" fmla="*/ 74486 w 230409"/>
                <a:gd name="connsiteY56" fmla="*/ 122111 h 198168"/>
                <a:gd name="connsiteX57" fmla="*/ 74486 w 230409"/>
                <a:gd name="connsiteY57" fmla="*/ 132017 h 198168"/>
                <a:gd name="connsiteX58" fmla="*/ 75438 w 230409"/>
                <a:gd name="connsiteY58" fmla="*/ 134398 h 198168"/>
                <a:gd name="connsiteX59" fmla="*/ 86011 w 230409"/>
                <a:gd name="connsiteY59" fmla="*/ 144971 h 198168"/>
                <a:gd name="connsiteX60" fmla="*/ 86963 w 230409"/>
                <a:gd name="connsiteY60" fmla="*/ 147352 h 198168"/>
                <a:gd name="connsiteX61" fmla="*/ 86963 w 230409"/>
                <a:gd name="connsiteY61" fmla="*/ 181928 h 198168"/>
                <a:gd name="connsiteX62" fmla="*/ 88392 w 230409"/>
                <a:gd name="connsiteY62" fmla="*/ 185356 h 198168"/>
                <a:gd name="connsiteX63" fmla="*/ 98393 w 230409"/>
                <a:gd name="connsiteY63" fmla="*/ 196977 h 198168"/>
                <a:gd name="connsiteX64" fmla="*/ 103442 w 230409"/>
                <a:gd name="connsiteY64" fmla="*/ 197072 h 198168"/>
                <a:gd name="connsiteX65" fmla="*/ 104680 w 230409"/>
                <a:gd name="connsiteY65" fmla="*/ 195643 h 198168"/>
                <a:gd name="connsiteX66" fmla="*/ 230410 w 230409"/>
                <a:gd name="connsiteY66" fmla="*/ 67056 h 198168"/>
                <a:gd name="connsiteX67" fmla="*/ 215741 w 230409"/>
                <a:gd name="connsiteY67" fmla="*/ 67056 h 198168"/>
                <a:gd name="connsiteX68" fmla="*/ 213360 w 230409"/>
                <a:gd name="connsiteY68" fmla="*/ 68008 h 198168"/>
                <a:gd name="connsiteX69" fmla="*/ 195739 w 230409"/>
                <a:gd name="connsiteY69" fmla="*/ 85630 h 198168"/>
                <a:gd name="connsiteX70" fmla="*/ 194786 w 230409"/>
                <a:gd name="connsiteY70" fmla="*/ 88011 h 198168"/>
                <a:gd name="connsiteX71" fmla="*/ 194786 w 230409"/>
                <a:gd name="connsiteY71" fmla="*/ 107442 h 198168"/>
                <a:gd name="connsiteX72" fmla="*/ 198120 w 230409"/>
                <a:gd name="connsiteY72" fmla="*/ 110776 h 198168"/>
                <a:gd name="connsiteX73" fmla="*/ 218218 w 230409"/>
                <a:gd name="connsiteY73" fmla="*/ 110776 h 198168"/>
                <a:gd name="connsiteX74" fmla="*/ 220599 w 230409"/>
                <a:gd name="connsiteY74" fmla="*/ 111728 h 198168"/>
                <a:gd name="connsiteX75" fmla="*/ 227267 w 230409"/>
                <a:gd name="connsiteY75" fmla="*/ 118396 h 19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0409" h="198168">
                  <a:moveTo>
                    <a:pt x="112395" y="30671"/>
                  </a:moveTo>
                  <a:lnTo>
                    <a:pt x="117253" y="35528"/>
                  </a:lnTo>
                  <a:cubicBezTo>
                    <a:pt x="117920" y="36195"/>
                    <a:pt x="118205" y="37052"/>
                    <a:pt x="118205" y="37909"/>
                  </a:cubicBezTo>
                  <a:lnTo>
                    <a:pt x="118205" y="57340"/>
                  </a:lnTo>
                  <a:cubicBezTo>
                    <a:pt x="118205" y="59246"/>
                    <a:pt x="116681" y="60674"/>
                    <a:pt x="114871" y="60674"/>
                  </a:cubicBezTo>
                  <a:lnTo>
                    <a:pt x="107252" y="60674"/>
                  </a:lnTo>
                  <a:cubicBezTo>
                    <a:pt x="106394" y="60674"/>
                    <a:pt x="105537" y="61055"/>
                    <a:pt x="104870" y="61627"/>
                  </a:cubicBezTo>
                  <a:lnTo>
                    <a:pt x="93821" y="72676"/>
                  </a:lnTo>
                  <a:cubicBezTo>
                    <a:pt x="93155" y="73343"/>
                    <a:pt x="92869" y="74200"/>
                    <a:pt x="92869" y="75057"/>
                  </a:cubicBezTo>
                  <a:lnTo>
                    <a:pt x="92869" y="76962"/>
                  </a:lnTo>
                  <a:cubicBezTo>
                    <a:pt x="92869" y="78867"/>
                    <a:pt x="91345" y="80296"/>
                    <a:pt x="89535" y="80296"/>
                  </a:cubicBezTo>
                  <a:lnTo>
                    <a:pt x="81820" y="80296"/>
                  </a:lnTo>
                  <a:cubicBezTo>
                    <a:pt x="80962" y="80296"/>
                    <a:pt x="80105" y="80677"/>
                    <a:pt x="79439" y="81248"/>
                  </a:cubicBezTo>
                  <a:lnTo>
                    <a:pt x="68771" y="91916"/>
                  </a:lnTo>
                  <a:cubicBezTo>
                    <a:pt x="68104" y="92583"/>
                    <a:pt x="67818" y="93440"/>
                    <a:pt x="67818" y="94298"/>
                  </a:cubicBezTo>
                  <a:lnTo>
                    <a:pt x="67818" y="97727"/>
                  </a:lnTo>
                  <a:cubicBezTo>
                    <a:pt x="67818" y="98584"/>
                    <a:pt x="67437" y="99441"/>
                    <a:pt x="66866" y="100108"/>
                  </a:cubicBezTo>
                  <a:lnTo>
                    <a:pt x="62674" y="104299"/>
                  </a:lnTo>
                  <a:cubicBezTo>
                    <a:pt x="62008" y="104966"/>
                    <a:pt x="61150" y="105251"/>
                    <a:pt x="60293" y="105251"/>
                  </a:cubicBezTo>
                  <a:lnTo>
                    <a:pt x="56674" y="105251"/>
                  </a:lnTo>
                  <a:cubicBezTo>
                    <a:pt x="55626" y="105251"/>
                    <a:pt x="54674" y="104775"/>
                    <a:pt x="54007" y="103918"/>
                  </a:cubicBezTo>
                  <a:lnTo>
                    <a:pt x="36767" y="81534"/>
                  </a:lnTo>
                  <a:cubicBezTo>
                    <a:pt x="36100" y="80677"/>
                    <a:pt x="35147" y="80201"/>
                    <a:pt x="34100" y="80201"/>
                  </a:cubicBezTo>
                  <a:lnTo>
                    <a:pt x="25146" y="80201"/>
                  </a:lnTo>
                  <a:cubicBezTo>
                    <a:pt x="24289" y="80201"/>
                    <a:pt x="23432" y="79819"/>
                    <a:pt x="22765" y="79248"/>
                  </a:cubicBezTo>
                  <a:lnTo>
                    <a:pt x="18098" y="74867"/>
                  </a:lnTo>
                  <a:cubicBezTo>
                    <a:pt x="17431" y="74200"/>
                    <a:pt x="17145" y="73343"/>
                    <a:pt x="17145" y="72485"/>
                  </a:cubicBezTo>
                  <a:lnTo>
                    <a:pt x="17145" y="56483"/>
                  </a:lnTo>
                  <a:cubicBezTo>
                    <a:pt x="17145" y="55626"/>
                    <a:pt x="17526" y="54769"/>
                    <a:pt x="18098" y="54102"/>
                  </a:cubicBezTo>
                  <a:lnTo>
                    <a:pt x="22574" y="49625"/>
                  </a:lnTo>
                  <a:cubicBezTo>
                    <a:pt x="23241" y="48958"/>
                    <a:pt x="23527" y="48101"/>
                    <a:pt x="23527" y="47244"/>
                  </a:cubicBezTo>
                  <a:lnTo>
                    <a:pt x="23527" y="43434"/>
                  </a:lnTo>
                  <a:cubicBezTo>
                    <a:pt x="23527" y="42577"/>
                    <a:pt x="23146" y="41720"/>
                    <a:pt x="22574" y="41053"/>
                  </a:cubicBezTo>
                  <a:lnTo>
                    <a:pt x="17621" y="36004"/>
                  </a:lnTo>
                  <a:cubicBezTo>
                    <a:pt x="16954" y="35338"/>
                    <a:pt x="16669" y="34481"/>
                    <a:pt x="16669" y="33623"/>
                  </a:cubicBezTo>
                  <a:lnTo>
                    <a:pt x="16669" y="18002"/>
                  </a:lnTo>
                  <a:cubicBezTo>
                    <a:pt x="16669" y="17145"/>
                    <a:pt x="16288" y="16288"/>
                    <a:pt x="15716" y="15621"/>
                  </a:cubicBezTo>
                  <a:lnTo>
                    <a:pt x="0" y="0"/>
                  </a:lnTo>
                  <a:moveTo>
                    <a:pt x="104680" y="195643"/>
                  </a:moveTo>
                  <a:cubicBezTo>
                    <a:pt x="105251" y="194977"/>
                    <a:pt x="105632" y="194215"/>
                    <a:pt x="105632" y="193358"/>
                  </a:cubicBezTo>
                  <a:lnTo>
                    <a:pt x="105632" y="188595"/>
                  </a:lnTo>
                  <a:lnTo>
                    <a:pt x="105632" y="178403"/>
                  </a:lnTo>
                  <a:cubicBezTo>
                    <a:pt x="105632" y="177546"/>
                    <a:pt x="106013" y="176689"/>
                    <a:pt x="106585" y="176022"/>
                  </a:cubicBezTo>
                  <a:lnTo>
                    <a:pt x="110776" y="171831"/>
                  </a:lnTo>
                  <a:cubicBezTo>
                    <a:pt x="111443" y="171164"/>
                    <a:pt x="111728" y="170307"/>
                    <a:pt x="111728" y="169450"/>
                  </a:cubicBezTo>
                  <a:lnTo>
                    <a:pt x="111728" y="166402"/>
                  </a:lnTo>
                  <a:cubicBezTo>
                    <a:pt x="111728" y="165544"/>
                    <a:pt x="112109" y="164687"/>
                    <a:pt x="112681" y="164021"/>
                  </a:cubicBezTo>
                  <a:lnTo>
                    <a:pt x="129159" y="147542"/>
                  </a:lnTo>
                  <a:cubicBezTo>
                    <a:pt x="129826" y="146876"/>
                    <a:pt x="130111" y="146018"/>
                    <a:pt x="130111" y="145161"/>
                  </a:cubicBezTo>
                  <a:lnTo>
                    <a:pt x="130111" y="134588"/>
                  </a:lnTo>
                  <a:cubicBezTo>
                    <a:pt x="130111" y="133731"/>
                    <a:pt x="129731" y="132874"/>
                    <a:pt x="129159" y="132207"/>
                  </a:cubicBezTo>
                  <a:lnTo>
                    <a:pt x="106013" y="109061"/>
                  </a:lnTo>
                  <a:cubicBezTo>
                    <a:pt x="105347" y="108394"/>
                    <a:pt x="104489" y="108109"/>
                    <a:pt x="103632" y="108109"/>
                  </a:cubicBezTo>
                  <a:lnTo>
                    <a:pt x="88487" y="108109"/>
                  </a:lnTo>
                  <a:cubicBezTo>
                    <a:pt x="87630" y="108109"/>
                    <a:pt x="86773" y="108490"/>
                    <a:pt x="86106" y="109061"/>
                  </a:cubicBezTo>
                  <a:lnTo>
                    <a:pt x="75438" y="119729"/>
                  </a:lnTo>
                  <a:cubicBezTo>
                    <a:pt x="74771" y="120396"/>
                    <a:pt x="74486" y="121253"/>
                    <a:pt x="74486" y="122111"/>
                  </a:cubicBezTo>
                  <a:lnTo>
                    <a:pt x="74486" y="132017"/>
                  </a:lnTo>
                  <a:cubicBezTo>
                    <a:pt x="74486" y="132874"/>
                    <a:pt x="74867" y="133731"/>
                    <a:pt x="75438" y="134398"/>
                  </a:cubicBezTo>
                  <a:lnTo>
                    <a:pt x="86011" y="144971"/>
                  </a:lnTo>
                  <a:cubicBezTo>
                    <a:pt x="86678" y="145637"/>
                    <a:pt x="86963" y="146494"/>
                    <a:pt x="86963" y="147352"/>
                  </a:cubicBezTo>
                  <a:lnTo>
                    <a:pt x="86963" y="181928"/>
                  </a:lnTo>
                  <a:cubicBezTo>
                    <a:pt x="86963" y="183166"/>
                    <a:pt x="87440" y="184404"/>
                    <a:pt x="88392" y="185356"/>
                  </a:cubicBezTo>
                  <a:lnTo>
                    <a:pt x="98393" y="196977"/>
                  </a:lnTo>
                  <a:cubicBezTo>
                    <a:pt x="99727" y="198501"/>
                    <a:pt x="102013" y="198596"/>
                    <a:pt x="103442" y="197072"/>
                  </a:cubicBezTo>
                  <a:lnTo>
                    <a:pt x="104680" y="195643"/>
                  </a:lnTo>
                  <a:close/>
                  <a:moveTo>
                    <a:pt x="230410" y="67056"/>
                  </a:moveTo>
                  <a:lnTo>
                    <a:pt x="215741" y="67056"/>
                  </a:lnTo>
                  <a:cubicBezTo>
                    <a:pt x="214884" y="67056"/>
                    <a:pt x="214027" y="67437"/>
                    <a:pt x="213360" y="68008"/>
                  </a:cubicBezTo>
                  <a:lnTo>
                    <a:pt x="195739" y="85630"/>
                  </a:lnTo>
                  <a:cubicBezTo>
                    <a:pt x="195072" y="86296"/>
                    <a:pt x="194786" y="87154"/>
                    <a:pt x="194786" y="88011"/>
                  </a:cubicBezTo>
                  <a:lnTo>
                    <a:pt x="194786" y="107442"/>
                  </a:lnTo>
                  <a:cubicBezTo>
                    <a:pt x="194786" y="109347"/>
                    <a:pt x="196310" y="110776"/>
                    <a:pt x="198120" y="110776"/>
                  </a:cubicBezTo>
                  <a:lnTo>
                    <a:pt x="218218" y="110776"/>
                  </a:lnTo>
                  <a:cubicBezTo>
                    <a:pt x="219075" y="110776"/>
                    <a:pt x="219932" y="111157"/>
                    <a:pt x="220599" y="111728"/>
                  </a:cubicBezTo>
                  <a:lnTo>
                    <a:pt x="227267" y="118396"/>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33" name="people_12" title="Icon of three people">
            <a:extLst>
              <a:ext uri="{FF2B5EF4-FFF2-40B4-BE49-F238E27FC236}">
                <a16:creationId xmlns:a16="http://schemas.microsoft.com/office/drawing/2014/main" id="{A938E473-ED84-4C78-A66F-24559B9578E7}"/>
              </a:ext>
            </a:extLst>
          </p:cNvPr>
          <p:cNvSpPr>
            <a:spLocks noChangeAspect="1" noEditPoints="1"/>
          </p:cNvSpPr>
          <p:nvPr/>
        </p:nvSpPr>
        <p:spPr bwMode="auto">
          <a:xfrm>
            <a:off x="412513" y="3591373"/>
            <a:ext cx="315208" cy="26892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sp>
        <p:nvSpPr>
          <p:cNvPr id="4" name="Rectangle 3">
            <a:extLst>
              <a:ext uri="{FF2B5EF4-FFF2-40B4-BE49-F238E27FC236}">
                <a16:creationId xmlns:a16="http://schemas.microsoft.com/office/drawing/2014/main" id="{754F1CBC-7FFA-402F-8959-6BF5600A6BCA}"/>
              </a:ext>
            </a:extLst>
          </p:cNvPr>
          <p:cNvSpPr/>
          <p:nvPr/>
        </p:nvSpPr>
        <p:spPr bwMode="auto">
          <a:xfrm>
            <a:off x="8109183" y="2950199"/>
            <a:ext cx="655495" cy="166950"/>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441">
                <a:solidFill>
                  <a:srgbClr val="3C3C41"/>
                </a:solidFill>
                <a:latin typeface="Segoe UI"/>
                <a:ea typeface="Segoe UI" pitchFamily="34" charset="0"/>
                <a:cs typeface="Segoe UI" pitchFamily="34" charset="0"/>
              </a:rPr>
              <a:t>Power Automate</a:t>
            </a:r>
          </a:p>
        </p:txBody>
      </p:sp>
      <p:sp>
        <p:nvSpPr>
          <p:cNvPr id="5" name="TextBox 4">
            <a:extLst>
              <a:ext uri="{FF2B5EF4-FFF2-40B4-BE49-F238E27FC236}">
                <a16:creationId xmlns:a16="http://schemas.microsoft.com/office/drawing/2014/main" id="{0A4AC44F-2C63-4A1F-9E79-DE4B00D8694F}"/>
              </a:ext>
            </a:extLst>
          </p:cNvPr>
          <p:cNvSpPr txBox="1"/>
          <p:nvPr/>
        </p:nvSpPr>
        <p:spPr>
          <a:xfrm>
            <a:off x="-48551" y="4819792"/>
            <a:ext cx="9309864" cy="276999"/>
          </a:xfrm>
          <a:prstGeom prst="rect">
            <a:avLst/>
          </a:prstGeom>
          <a:noFill/>
        </p:spPr>
        <p:txBody>
          <a:bodyPr wrap="square">
            <a:spAutoFit/>
          </a:bodyPr>
          <a:lstStyle/>
          <a:p>
            <a:pPr marL="84036" defTabSz="896069" fontAlgn="base">
              <a:spcBef>
                <a:spcPts val="735"/>
              </a:spcBef>
              <a:spcAft>
                <a:spcPct val="0"/>
              </a:spcAft>
            </a:pPr>
            <a:r>
              <a:rPr lang="en-US" sz="1200">
                <a:solidFill>
                  <a:srgbClr val="3C3C41"/>
                </a:solidFill>
                <a:latin typeface="Segoe UI"/>
                <a:cs typeface="Segoe UI Semibold" panose="020B0702040204020203" pitchFamily="34" charset="0"/>
              </a:rPr>
              <a:t>*Blocking users from Power Platform access will negatively impact in-product Office integrations in Microsoft offerings like </a:t>
            </a:r>
            <a:r>
              <a:rPr lang="en-US" sz="1200" err="1">
                <a:solidFill>
                  <a:srgbClr val="3C3C41"/>
                </a:solidFill>
                <a:latin typeface="Segoe UI"/>
                <a:cs typeface="Segoe UI Semibold" panose="020B0702040204020203" pitchFamily="34" charset="0"/>
              </a:rPr>
              <a:t>Sharepoint</a:t>
            </a:r>
            <a:endParaRPr lang="en-US" sz="1200">
              <a:solidFill>
                <a:srgbClr val="3C3C41"/>
              </a:solidFill>
              <a:latin typeface="Segoe UI"/>
              <a:cs typeface="Segoe UI Semibold" panose="020B0702040204020203" pitchFamily="34" charset="0"/>
            </a:endParaRPr>
          </a:p>
        </p:txBody>
      </p:sp>
    </p:spTree>
    <p:extLst>
      <p:ext uri="{BB962C8B-B14F-4D97-AF65-F5344CB8AC3E}">
        <p14:creationId xmlns:p14="http://schemas.microsoft.com/office/powerpoint/2010/main" val="329953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731B9B25-4462-4DE6-AF6A-DCEF12FBD0D5}"/>
              </a:ext>
            </a:extLst>
          </p:cNvPr>
          <p:cNvSpPr/>
          <p:nvPr/>
        </p:nvSpPr>
        <p:spPr bwMode="auto">
          <a:xfrm>
            <a:off x="1" y="1685921"/>
            <a:ext cx="9143999" cy="3467375"/>
          </a:xfrm>
          <a:custGeom>
            <a:avLst/>
            <a:gdLst>
              <a:gd name="connsiteX0" fmla="*/ 1396096 w 12436474"/>
              <a:gd name="connsiteY0" fmla="*/ 0 h 4563404"/>
              <a:gd name="connsiteX1" fmla="*/ 12436474 w 12436474"/>
              <a:gd name="connsiteY1" fmla="*/ 0 h 4563404"/>
              <a:gd name="connsiteX2" fmla="*/ 12436474 w 12436474"/>
              <a:gd name="connsiteY2" fmla="*/ 4563404 h 4563404"/>
              <a:gd name="connsiteX3" fmla="*/ 0 w 12436474"/>
              <a:gd name="connsiteY3" fmla="*/ 4563404 h 4563404"/>
              <a:gd name="connsiteX4" fmla="*/ 0 w 12436474"/>
              <a:gd name="connsiteY4" fmla="*/ 2792191 h 456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4" h="4563404">
                <a:moveTo>
                  <a:pt x="1396096" y="0"/>
                </a:moveTo>
                <a:lnTo>
                  <a:pt x="12436474" y="0"/>
                </a:lnTo>
                <a:lnTo>
                  <a:pt x="12436474" y="4563404"/>
                </a:lnTo>
                <a:lnTo>
                  <a:pt x="0" y="4563404"/>
                </a:lnTo>
                <a:lnTo>
                  <a:pt x="0" y="27921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25EE737-FC88-42F7-A600-79172867201D}"/>
              </a:ext>
            </a:extLst>
          </p:cNvPr>
          <p:cNvSpPr/>
          <p:nvPr/>
        </p:nvSpPr>
        <p:spPr bwMode="auto">
          <a:xfrm>
            <a:off x="0" y="366"/>
            <a:ext cx="4835343" cy="1556966"/>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GB" sz="882" b="1" err="1">
              <a:solidFill>
                <a:srgbClr val="FFFFFF"/>
              </a:solidFill>
              <a:latin typeface="Segoe UI"/>
              <a:cs typeface="Segoe UI" pitchFamily="34" charset="0"/>
            </a:endParaRPr>
          </a:p>
        </p:txBody>
      </p:sp>
      <p:sp>
        <p:nvSpPr>
          <p:cNvPr id="55" name="Rectangle 54">
            <a:extLst>
              <a:ext uri="{FF2B5EF4-FFF2-40B4-BE49-F238E27FC236}">
                <a16:creationId xmlns:a16="http://schemas.microsoft.com/office/drawing/2014/main" id="{4B2E47A6-6642-4E9E-A68D-DE93BA786B49}"/>
              </a:ext>
            </a:extLst>
          </p:cNvPr>
          <p:cNvSpPr/>
          <p:nvPr/>
        </p:nvSpPr>
        <p:spPr bwMode="auto">
          <a:xfrm>
            <a:off x="252138" y="2865239"/>
            <a:ext cx="2697454"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Global Administrator</a:t>
            </a:r>
            <a:endParaRPr lang="en-US" sz="1463" dirty="0">
              <a:gradFill>
                <a:gsLst>
                  <a:gs pos="0">
                    <a:srgbClr val="292929"/>
                  </a:gs>
                  <a:gs pos="86000">
                    <a:srgbClr val="292929"/>
                  </a:gs>
                </a:gsLst>
                <a:lin ang="5400000" scaled="0"/>
              </a:gradFill>
              <a:latin typeface="Segoe UI Semibold"/>
              <a:cs typeface="Segoe UI Semibold"/>
            </a:endParaRPr>
          </a:p>
          <a:p>
            <a:pPr marL="83820" algn="ctr" defTabSz="896069" fontAlgn="base">
              <a:spcBef>
                <a:spcPts val="735"/>
              </a:spcBef>
              <a:spcAft>
                <a:spcPct val="0"/>
              </a:spcAft>
            </a:pPr>
            <a:r>
              <a:rPr lang="en-US" sz="1313" dirty="0">
                <a:solidFill>
                  <a:srgbClr val="3C3C41"/>
                </a:solidFill>
                <a:latin typeface="Segoe UI"/>
                <a:cs typeface="Segoe UI Semibold"/>
              </a:rPr>
              <a:t>Full administration to all services in tenant including Power Platform e.g., Environment, User, License and capacity, Security, Analytics, Support, Data Gateways, Data Loss Policies, Data integration. </a:t>
            </a:r>
            <a:endParaRPr lang="en-US" sz="1176" dirty="0">
              <a:gradFill>
                <a:gsLst>
                  <a:gs pos="0">
                    <a:srgbClr val="292929"/>
                  </a:gs>
                  <a:gs pos="86000">
                    <a:srgbClr val="292929"/>
                  </a:gs>
                </a:gsLst>
                <a:lin ang="5400000" scaled="0"/>
              </a:gradFill>
              <a:latin typeface="Segoe UI"/>
              <a:cs typeface="Segoe UI"/>
            </a:endParaRPr>
          </a:p>
        </p:txBody>
      </p:sp>
      <p:sp>
        <p:nvSpPr>
          <p:cNvPr id="56" name="Rectangle 55">
            <a:extLst>
              <a:ext uri="{FF2B5EF4-FFF2-40B4-BE49-F238E27FC236}">
                <a16:creationId xmlns:a16="http://schemas.microsoft.com/office/drawing/2014/main" id="{D0549BDA-D1E2-44BA-98CF-025BB6228004}"/>
              </a:ext>
            </a:extLst>
          </p:cNvPr>
          <p:cNvSpPr/>
          <p:nvPr/>
        </p:nvSpPr>
        <p:spPr bwMode="auto">
          <a:xfrm>
            <a:off x="3145629" y="2865239"/>
            <a:ext cx="2796737"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Power Platform Administrator</a:t>
            </a:r>
          </a:p>
          <a:p>
            <a:pPr algn="ctr" defTabSz="896069" fontAlgn="base">
              <a:spcBef>
                <a:spcPts val="441"/>
              </a:spcBef>
              <a:spcAft>
                <a:spcPct val="0"/>
              </a:spcAft>
            </a:pPr>
            <a:r>
              <a:rPr lang="en-US" sz="1463" dirty="0">
                <a:solidFill>
                  <a:srgbClr val="3C3C41"/>
                </a:solidFill>
                <a:latin typeface="Segoe UI Semibold"/>
                <a:cs typeface="Segoe UI Semibold"/>
              </a:rPr>
              <a:t>Dynamics 365 Administrator*</a:t>
            </a:r>
          </a:p>
          <a:p>
            <a:pPr marL="83820" algn="ctr" defTabSz="896069" fontAlgn="base">
              <a:spcBef>
                <a:spcPts val="735"/>
              </a:spcBef>
              <a:spcAft>
                <a:spcPct val="0"/>
              </a:spcAft>
            </a:pPr>
            <a:r>
              <a:rPr lang="en-US" sz="1313" dirty="0">
                <a:solidFill>
                  <a:srgbClr val="3C3C41"/>
                </a:solidFill>
                <a:latin typeface="Segoe UI"/>
                <a:cs typeface="Segoe UI Semibold"/>
              </a:rPr>
              <a:t>Full administration access for Power Platform e.g. Environment, User, Security, Analytics, Support, Data Gateways, Data Loss Policies, Data integration. License management needs M365 Global admin privilege. </a:t>
            </a:r>
            <a:endParaRPr lang="en-US" sz="1313" dirty="0">
              <a:solidFill>
                <a:srgbClr val="3C3C41"/>
              </a:solidFill>
              <a:latin typeface="Segoe UI"/>
              <a:cs typeface="Segoe UI Semibold" panose="020B0702040204020203" pitchFamily="34" charset="0"/>
            </a:endParaRPr>
          </a:p>
        </p:txBody>
      </p:sp>
      <p:sp>
        <p:nvSpPr>
          <p:cNvPr id="11" name="Rectangle 10">
            <a:extLst>
              <a:ext uri="{FF2B5EF4-FFF2-40B4-BE49-F238E27FC236}">
                <a16:creationId xmlns:a16="http://schemas.microsoft.com/office/drawing/2014/main" id="{231EDBEE-FC13-4C4C-AC20-D6C46E6B454C}"/>
              </a:ext>
            </a:extLst>
          </p:cNvPr>
          <p:cNvSpPr/>
          <p:nvPr/>
        </p:nvSpPr>
        <p:spPr bwMode="auto">
          <a:xfrm>
            <a:off x="6043642" y="2865239"/>
            <a:ext cx="2676422"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71" i="1" dirty="0">
                <a:solidFill>
                  <a:srgbClr val="3C3C41"/>
                </a:solidFill>
                <a:latin typeface="Segoe UI Semibold" panose="020B0702040204020203" pitchFamily="34" charset="0"/>
                <a:cs typeface="Segoe UI Semibold" panose="020B0702040204020203" pitchFamily="34" charset="0"/>
              </a:rPr>
              <a:t>Delegated Admin</a:t>
            </a:r>
          </a:p>
          <a:p>
            <a:pPr algn="ctr" defTabSz="896069" fontAlgn="base">
              <a:spcBef>
                <a:spcPts val="441"/>
              </a:spcBef>
              <a:spcAft>
                <a:spcPct val="0"/>
              </a:spcAft>
            </a:pPr>
            <a:r>
              <a:rPr lang="en-US" sz="1313" i="1" dirty="0">
                <a:solidFill>
                  <a:srgbClr val="3C3C41"/>
                </a:solidFill>
                <a:latin typeface="Segoe UI"/>
                <a:cs typeface="Segoe UI Semibold"/>
              </a:rPr>
              <a:t>Can be used to provide full administration access to Power Platform to guest users using the ISV/CSP scenario from the partner center</a:t>
            </a:r>
          </a:p>
        </p:txBody>
      </p:sp>
      <p:grpSp>
        <p:nvGrpSpPr>
          <p:cNvPr id="5" name="Group 4">
            <a:extLst>
              <a:ext uri="{FF2B5EF4-FFF2-40B4-BE49-F238E27FC236}">
                <a16:creationId xmlns:a16="http://schemas.microsoft.com/office/drawing/2014/main" id="{F334B543-03B9-4722-BCA6-BF55B72A0D1C}"/>
              </a:ext>
            </a:extLst>
          </p:cNvPr>
          <p:cNvGrpSpPr/>
          <p:nvPr/>
        </p:nvGrpSpPr>
        <p:grpSpPr>
          <a:xfrm>
            <a:off x="1184695" y="1939880"/>
            <a:ext cx="802259" cy="691602"/>
            <a:chOff x="465138" y="3075590"/>
            <a:chExt cx="1119632" cy="965200"/>
          </a:xfrm>
        </p:grpSpPr>
        <p:sp>
          <p:nvSpPr>
            <p:cNvPr id="52" name="Hexagon 51">
              <a:extLst>
                <a:ext uri="{FF2B5EF4-FFF2-40B4-BE49-F238E27FC236}">
                  <a16:creationId xmlns:a16="http://schemas.microsoft.com/office/drawing/2014/main" id="{EBE5ED0B-2A28-4286-92C5-3BC8DF855608}"/>
                </a:ext>
              </a:extLst>
            </p:cNvPr>
            <p:cNvSpPr/>
            <p:nvPr/>
          </p:nvSpPr>
          <p:spPr bwMode="auto">
            <a:xfrm>
              <a:off x="465138" y="3075590"/>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3" name="Hexagon 12">
              <a:extLst>
                <a:ext uri="{FF2B5EF4-FFF2-40B4-BE49-F238E27FC236}">
                  <a16:creationId xmlns:a16="http://schemas.microsoft.com/office/drawing/2014/main" id="{E73463DB-4ECD-43B7-81ED-C015A547D1AF}"/>
                </a:ext>
              </a:extLst>
            </p:cNvPr>
            <p:cNvSpPr/>
            <p:nvPr/>
          </p:nvSpPr>
          <p:spPr bwMode="auto">
            <a:xfrm>
              <a:off x="706438" y="3075590"/>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globe" title="Icon of the earth">
            <a:extLst>
              <a:ext uri="{FF2B5EF4-FFF2-40B4-BE49-F238E27FC236}">
                <a16:creationId xmlns:a16="http://schemas.microsoft.com/office/drawing/2014/main" id="{2EE45440-CE42-4130-835D-46D51A2FBA5E}"/>
              </a:ext>
            </a:extLst>
          </p:cNvPr>
          <p:cNvSpPr>
            <a:spLocks noChangeAspect="1" noEditPoints="1"/>
          </p:cNvSpPr>
          <p:nvPr/>
        </p:nvSpPr>
        <p:spPr bwMode="auto">
          <a:xfrm>
            <a:off x="1415708" y="2114985"/>
            <a:ext cx="340232" cy="341389"/>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nvGrpSpPr>
          <p:cNvPr id="7" name="Group 6">
            <a:extLst>
              <a:ext uri="{FF2B5EF4-FFF2-40B4-BE49-F238E27FC236}">
                <a16:creationId xmlns:a16="http://schemas.microsoft.com/office/drawing/2014/main" id="{C4D4E239-226A-46A7-8A22-14E060156B84}"/>
              </a:ext>
            </a:extLst>
          </p:cNvPr>
          <p:cNvGrpSpPr/>
          <p:nvPr/>
        </p:nvGrpSpPr>
        <p:grpSpPr>
          <a:xfrm>
            <a:off x="6880460" y="1939880"/>
            <a:ext cx="802259" cy="691602"/>
            <a:chOff x="465138" y="5488513"/>
            <a:chExt cx="1119632" cy="965200"/>
          </a:xfrm>
        </p:grpSpPr>
        <p:sp>
          <p:nvSpPr>
            <p:cNvPr id="54" name="Hexagon 53">
              <a:extLst>
                <a:ext uri="{FF2B5EF4-FFF2-40B4-BE49-F238E27FC236}">
                  <a16:creationId xmlns:a16="http://schemas.microsoft.com/office/drawing/2014/main" id="{1DFB61C7-FB07-4440-B3F9-3FCA75F99C0F}"/>
                </a:ext>
              </a:extLst>
            </p:cNvPr>
            <p:cNvSpPr/>
            <p:nvPr/>
          </p:nvSpPr>
          <p:spPr bwMode="auto">
            <a:xfrm>
              <a:off x="465138" y="5488513"/>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5" name="Hexagon 12">
              <a:extLst>
                <a:ext uri="{FF2B5EF4-FFF2-40B4-BE49-F238E27FC236}">
                  <a16:creationId xmlns:a16="http://schemas.microsoft.com/office/drawing/2014/main" id="{AD04B9AE-B894-4952-A173-9CDB4B69438E}"/>
                </a:ext>
              </a:extLst>
            </p:cNvPr>
            <p:cNvSpPr/>
            <p:nvPr/>
          </p:nvSpPr>
          <p:spPr bwMode="auto">
            <a:xfrm>
              <a:off x="706438" y="5488513"/>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manager" title="Icon of three people with lines connecting them">
            <a:extLst>
              <a:ext uri="{FF2B5EF4-FFF2-40B4-BE49-F238E27FC236}">
                <a16:creationId xmlns:a16="http://schemas.microsoft.com/office/drawing/2014/main" id="{BFD07438-BE10-4A93-91B9-04C7150BC463}"/>
              </a:ext>
            </a:extLst>
          </p:cNvPr>
          <p:cNvSpPr>
            <a:spLocks noChangeAspect="1" noEditPoints="1"/>
          </p:cNvSpPr>
          <p:nvPr/>
        </p:nvSpPr>
        <p:spPr bwMode="auto">
          <a:xfrm>
            <a:off x="7102309" y="2104978"/>
            <a:ext cx="358561" cy="36140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nvGrpSpPr>
          <p:cNvPr id="6" name="Group 5">
            <a:extLst>
              <a:ext uri="{FF2B5EF4-FFF2-40B4-BE49-F238E27FC236}">
                <a16:creationId xmlns:a16="http://schemas.microsoft.com/office/drawing/2014/main" id="{86122618-73A5-4B8E-9CE9-74E6F2838EB4}"/>
              </a:ext>
            </a:extLst>
          </p:cNvPr>
          <p:cNvGrpSpPr/>
          <p:nvPr/>
        </p:nvGrpSpPr>
        <p:grpSpPr>
          <a:xfrm>
            <a:off x="4082710" y="1939880"/>
            <a:ext cx="802259" cy="691602"/>
            <a:chOff x="465138" y="4228191"/>
            <a:chExt cx="1119632" cy="965200"/>
          </a:xfrm>
        </p:grpSpPr>
        <p:sp>
          <p:nvSpPr>
            <p:cNvPr id="53" name="Hexagon 52">
              <a:extLst>
                <a:ext uri="{FF2B5EF4-FFF2-40B4-BE49-F238E27FC236}">
                  <a16:creationId xmlns:a16="http://schemas.microsoft.com/office/drawing/2014/main" id="{EB5BED1C-9FDF-44D1-9BC3-175F65661067}"/>
                </a:ext>
              </a:extLst>
            </p:cNvPr>
            <p:cNvSpPr/>
            <p:nvPr/>
          </p:nvSpPr>
          <p:spPr bwMode="auto">
            <a:xfrm>
              <a:off x="465138" y="4228191"/>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4" name="Hexagon 12">
              <a:extLst>
                <a:ext uri="{FF2B5EF4-FFF2-40B4-BE49-F238E27FC236}">
                  <a16:creationId xmlns:a16="http://schemas.microsoft.com/office/drawing/2014/main" id="{9C7B2858-5CD5-4B26-97EC-2D993F4B1825}"/>
                </a:ext>
              </a:extLst>
            </p:cNvPr>
            <p:cNvSpPr/>
            <p:nvPr/>
          </p:nvSpPr>
          <p:spPr bwMode="auto">
            <a:xfrm>
              <a:off x="706438" y="4228191"/>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 name="tool" title="Icon of a skrewdriver and wrench">
            <a:extLst>
              <a:ext uri="{FF2B5EF4-FFF2-40B4-BE49-F238E27FC236}">
                <a16:creationId xmlns:a16="http://schemas.microsoft.com/office/drawing/2014/main" id="{B0EB9B3B-8E4D-4D95-A614-1FD511703E7E}"/>
              </a:ext>
            </a:extLst>
          </p:cNvPr>
          <p:cNvSpPr>
            <a:spLocks noChangeAspect="1" noEditPoints="1"/>
          </p:cNvSpPr>
          <p:nvPr/>
        </p:nvSpPr>
        <p:spPr bwMode="auto">
          <a:xfrm>
            <a:off x="4336149" y="2077644"/>
            <a:ext cx="295381" cy="41607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75"/>
            <a:endParaRPr lang="en-US" sz="1324">
              <a:gradFill>
                <a:gsLst>
                  <a:gs pos="0">
                    <a:srgbClr val="505050"/>
                  </a:gs>
                  <a:gs pos="100000">
                    <a:srgbClr val="505050"/>
                  </a:gs>
                </a:gsLst>
              </a:gradFill>
              <a:latin typeface="Segoe UI"/>
            </a:endParaRPr>
          </a:p>
        </p:txBody>
      </p:sp>
      <p:cxnSp>
        <p:nvCxnSpPr>
          <p:cNvPr id="10" name="Straight Connector 9">
            <a:extLst>
              <a:ext uri="{FF2B5EF4-FFF2-40B4-BE49-F238E27FC236}">
                <a16:creationId xmlns:a16="http://schemas.microsoft.com/office/drawing/2014/main" id="{A3489DCB-3882-4849-920D-175A17AB983D}"/>
              </a:ext>
            </a:extLst>
          </p:cNvPr>
          <p:cNvCxnSpPr>
            <a:cxnSpLocks/>
          </p:cNvCxnSpPr>
          <p:nvPr/>
        </p:nvCxnSpPr>
        <p:spPr>
          <a:xfrm>
            <a:off x="3084964"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127633-978B-4EB7-9C73-A34F64CFF3EA}"/>
              </a:ext>
            </a:extLst>
          </p:cNvPr>
          <p:cNvCxnSpPr>
            <a:cxnSpLocks/>
          </p:cNvCxnSpPr>
          <p:nvPr/>
        </p:nvCxnSpPr>
        <p:spPr>
          <a:xfrm>
            <a:off x="6033110"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0B77FB4-0849-4242-A82A-E6A6F046DDB6}"/>
              </a:ext>
            </a:extLst>
          </p:cNvPr>
          <p:cNvSpPr>
            <a:spLocks noGrp="1"/>
          </p:cNvSpPr>
          <p:nvPr>
            <p:ph type="title"/>
          </p:nvPr>
        </p:nvSpPr>
        <p:spPr/>
        <p:txBody>
          <a:bodyPr/>
          <a:lstStyle/>
          <a:p>
            <a:r>
              <a:rPr lang="en-IN" sz="2025" dirty="0">
                <a:solidFill>
                  <a:schemeClr val="bg1"/>
                </a:solidFill>
                <a:cs typeface="Segoe UI"/>
              </a:rPr>
              <a:t>Tenant level service admin roles</a:t>
            </a:r>
          </a:p>
        </p:txBody>
      </p:sp>
      <p:sp>
        <p:nvSpPr>
          <p:cNvPr id="29" name="Hexagon 28">
            <a:extLst>
              <a:ext uri="{FF2B5EF4-FFF2-40B4-BE49-F238E27FC236}">
                <a16:creationId xmlns:a16="http://schemas.microsoft.com/office/drawing/2014/main" id="{D0BBE68A-1F6B-4738-B609-EB8397A945AD}"/>
              </a:ext>
            </a:extLst>
          </p:cNvPr>
          <p:cNvSpPr/>
          <p:nvPr/>
        </p:nvSpPr>
        <p:spPr bwMode="auto">
          <a:xfrm>
            <a:off x="8116628" y="11879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41" name="Freeform: Shape 40">
            <a:extLst>
              <a:ext uri="{FF2B5EF4-FFF2-40B4-BE49-F238E27FC236}">
                <a16:creationId xmlns:a16="http://schemas.microsoft.com/office/drawing/2014/main" id="{90B77ED7-6E56-440E-A0CD-ED5960D4BD6D}"/>
              </a:ext>
            </a:extLst>
          </p:cNvPr>
          <p:cNvSpPr/>
          <p:nvPr/>
        </p:nvSpPr>
        <p:spPr bwMode="auto">
          <a:xfrm>
            <a:off x="7145006" y="365"/>
            <a:ext cx="1733218" cy="909261"/>
          </a:xfrm>
          <a:custGeom>
            <a:avLst/>
            <a:gdLst>
              <a:gd name="connsiteX0" fmla="*/ 99217 w 2357296"/>
              <a:gd name="connsiteY0" fmla="*/ 0 h 1236658"/>
              <a:gd name="connsiteX1" fmla="*/ 2258080 w 2357296"/>
              <a:gd name="connsiteY1" fmla="*/ 0 h 1236658"/>
              <a:gd name="connsiteX2" fmla="*/ 2357296 w 2357296"/>
              <a:gd name="connsiteY2" fmla="*/ 198433 h 1236658"/>
              <a:gd name="connsiteX3" fmla="*/ 1838184 w 2357296"/>
              <a:gd name="connsiteY3" fmla="*/ 1236658 h 1236658"/>
              <a:gd name="connsiteX4" fmla="*/ 519113 w 2357296"/>
              <a:gd name="connsiteY4" fmla="*/ 1236658 h 1236658"/>
              <a:gd name="connsiteX5" fmla="*/ 0 w 2357296"/>
              <a:gd name="connsiteY5" fmla="*/ 198433 h 123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296" h="1236658">
                <a:moveTo>
                  <a:pt x="99217" y="0"/>
                </a:moveTo>
                <a:lnTo>
                  <a:pt x="2258080" y="0"/>
                </a:lnTo>
                <a:lnTo>
                  <a:pt x="2357296" y="198433"/>
                </a:lnTo>
                <a:lnTo>
                  <a:pt x="1838184" y="1236658"/>
                </a:lnTo>
                <a:lnTo>
                  <a:pt x="519113" y="1236658"/>
                </a:lnTo>
                <a:lnTo>
                  <a:pt x="0" y="198433"/>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B1A5EB54-09B3-4D69-ACA1-3B51CC6166D7}"/>
              </a:ext>
            </a:extLst>
          </p:cNvPr>
          <p:cNvSpPr txBox="1"/>
          <p:nvPr/>
        </p:nvSpPr>
        <p:spPr>
          <a:xfrm>
            <a:off x="-48551" y="4819791"/>
            <a:ext cx="9309864" cy="392415"/>
          </a:xfrm>
          <a:prstGeom prst="rect">
            <a:avLst/>
          </a:prstGeom>
          <a:noFill/>
        </p:spPr>
        <p:txBody>
          <a:bodyPr wrap="square" lIns="68580" tIns="34290" rIns="68580" bIns="34290" anchor="t">
            <a:spAutoFit/>
          </a:bodyPr>
          <a:lstStyle/>
          <a:p>
            <a:pPr marL="83820" defTabSz="896069" fontAlgn="base">
              <a:spcBef>
                <a:spcPts val="735"/>
              </a:spcBef>
              <a:spcAft>
                <a:spcPct val="0"/>
              </a:spcAft>
            </a:pPr>
            <a:r>
              <a:rPr lang="en-US" sz="1050" dirty="0">
                <a:solidFill>
                  <a:srgbClr val="3C3C41"/>
                </a:solidFill>
                <a:latin typeface="Segoe UI"/>
                <a:cs typeface="Segoe UI Semibold"/>
              </a:rPr>
              <a:t>*D365 Admin access to specific environments can be annulled for CDS backed environments by associating an Azure AD Group to the environment and not adding the D365 Admin to the group.</a:t>
            </a:r>
            <a:endParaRPr lang="en-US" sz="1200" dirty="0"/>
          </a:p>
        </p:txBody>
      </p:sp>
    </p:spTree>
    <p:extLst>
      <p:ext uri="{BB962C8B-B14F-4D97-AF65-F5344CB8AC3E}">
        <p14:creationId xmlns:p14="http://schemas.microsoft.com/office/powerpoint/2010/main" val="358708686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01EFE86-CB5A-4B3E-A298-ACE18D9D16D6}"/>
              </a:ext>
            </a:extLst>
          </p:cNvPr>
          <p:cNvSpPr/>
          <p:nvPr/>
        </p:nvSpPr>
        <p:spPr bwMode="auto">
          <a:xfrm>
            <a:off x="5689670" y="3515665"/>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869586"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6" y="1056104"/>
            <a:ext cx="3339056" cy="180947"/>
          </a:xfrm>
          <a:prstGeom prst="rect">
            <a:avLst/>
          </a:prstGeom>
        </p:spPr>
        <p:txBody>
          <a:bodyPr wrap="none" lIns="0" tIns="0" rIns="0" bIns="0" anchor="ctr">
            <a:spAutoFit/>
          </a:bodyPr>
          <a:lstStyle/>
          <a:p>
            <a:pPr defTabSz="896364"/>
            <a:r>
              <a:rPr lang="en-US" sz="1176" i="1" dirty="0">
                <a:solidFill>
                  <a:srgbClr val="FFFFFF"/>
                </a:solidFill>
                <a:latin typeface="Segoe UI Semibold"/>
              </a:rPr>
              <a:t>Configuration when Tenant isolation is turned on</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6" name="Group 35">
            <a:extLst>
              <a:ext uri="{FF2B5EF4-FFF2-40B4-BE49-F238E27FC236}">
                <a16:creationId xmlns:a16="http://schemas.microsoft.com/office/drawing/2014/main" id="{67E3AEC4-5583-4B77-ADD5-3836ABCD2D04}"/>
              </a:ext>
            </a:extLst>
          </p:cNvPr>
          <p:cNvGrpSpPr/>
          <p:nvPr/>
        </p:nvGrpSpPr>
        <p:grpSpPr>
          <a:xfrm>
            <a:off x="5726186" y="4023284"/>
            <a:ext cx="2299720" cy="158378"/>
            <a:chOff x="3870654" y="4154311"/>
            <a:chExt cx="1354166" cy="105709"/>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870654"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592201"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not establish 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not</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Multiplication Sign 2">
            <a:extLst>
              <a:ext uri="{FF2B5EF4-FFF2-40B4-BE49-F238E27FC236}">
                <a16:creationId xmlns:a16="http://schemas.microsoft.com/office/drawing/2014/main" id="{66F12323-E6E6-4033-8A6B-BEF063C407DD}"/>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sp>
        <p:nvSpPr>
          <p:cNvPr id="6" name="Multiplication Sign 5">
            <a:extLst>
              <a:ext uri="{FF2B5EF4-FFF2-40B4-BE49-F238E27FC236}">
                <a16:creationId xmlns:a16="http://schemas.microsoft.com/office/drawing/2014/main" id="{4C0A180A-361A-4FC8-9E5D-5BA5C422ABC6}"/>
              </a:ext>
            </a:extLst>
          </p:cNvPr>
          <p:cNvSpPr/>
          <p:nvPr/>
        </p:nvSpPr>
        <p:spPr>
          <a:xfrm>
            <a:off x="4276123" y="3472612"/>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15" name="Group 14">
            <a:extLst>
              <a:ext uri="{FF2B5EF4-FFF2-40B4-BE49-F238E27FC236}">
                <a16:creationId xmlns:a16="http://schemas.microsoft.com/office/drawing/2014/main" id="{223F51AB-DCB8-4144-BD71-56A1AEA84DCD}"/>
              </a:ext>
            </a:extLst>
          </p:cNvPr>
          <p:cNvGrpSpPr/>
          <p:nvPr/>
        </p:nvGrpSpPr>
        <p:grpSpPr>
          <a:xfrm>
            <a:off x="630723" y="2073409"/>
            <a:ext cx="2383847" cy="859677"/>
            <a:chOff x="630723" y="2073409"/>
            <a:chExt cx="2383847" cy="859677"/>
          </a:xfrm>
        </p:grpSpPr>
        <p:sp>
          <p:nvSpPr>
            <p:cNvPr id="8" name="Rectangle 7">
              <a:extLst>
                <a:ext uri="{FF2B5EF4-FFF2-40B4-BE49-F238E27FC236}">
                  <a16:creationId xmlns:a16="http://schemas.microsoft.com/office/drawing/2014/main" id="{A53F1158-03FA-4073-8A0F-69A485D480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630723" y="2660244"/>
              <a:ext cx="2370159" cy="158377"/>
              <a:chOff x="3911312" y="4156373"/>
              <a:chExt cx="1581965" cy="105709"/>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10" name="Picture 9" descr="A picture containing shape&#10;&#10;Description automatically generated">
              <a:extLst>
                <a:ext uri="{FF2B5EF4-FFF2-40B4-BE49-F238E27FC236}">
                  <a16:creationId xmlns:a16="http://schemas.microsoft.com/office/drawing/2014/main" id="{A5CDAE9C-7100-4CE6-A4F6-A6E76C85D40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12" name="Picture 11" descr="A picture containing shape&#10;&#10;Description automatically generated">
              <a:extLst>
                <a:ext uri="{FF2B5EF4-FFF2-40B4-BE49-F238E27FC236}">
                  <a16:creationId xmlns:a16="http://schemas.microsoft.com/office/drawing/2014/main" id="{35E4002A-D051-4D0C-821D-1BE54120369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pic>
        <p:nvPicPr>
          <p:cNvPr id="13" name="Picture 12" descr="A picture containing shape&#10;&#10;Description automatically generated">
            <a:extLst>
              <a:ext uri="{FF2B5EF4-FFF2-40B4-BE49-F238E27FC236}">
                <a16:creationId xmlns:a16="http://schemas.microsoft.com/office/drawing/2014/main" id="{5CDFA439-FF01-4FA4-8224-DBF8109E0B1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52454" y="3644405"/>
            <a:ext cx="360000" cy="360000"/>
          </a:xfrm>
          <a:prstGeom prst="rect">
            <a:avLst/>
          </a:prstGeom>
        </p:spPr>
      </p:pic>
      <p:pic>
        <p:nvPicPr>
          <p:cNvPr id="14" name="Picture 13" descr="A picture containing shape&#10;&#10;Description automatically generated">
            <a:extLst>
              <a:ext uri="{FF2B5EF4-FFF2-40B4-BE49-F238E27FC236}">
                <a16:creationId xmlns:a16="http://schemas.microsoft.com/office/drawing/2014/main" id="{14F02C6E-81B9-4E1B-B7EB-725D080D91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132239" y="3609697"/>
            <a:ext cx="360000" cy="360000"/>
          </a:xfrm>
          <a:prstGeom prst="rect">
            <a:avLst/>
          </a:prstGeom>
        </p:spPr>
      </p:pic>
    </p:spTree>
    <p:extLst>
      <p:ext uri="{BB962C8B-B14F-4D97-AF65-F5344CB8AC3E}">
        <p14:creationId xmlns:p14="http://schemas.microsoft.com/office/powerpoint/2010/main" val="24931831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in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0BC66BBB-8216-4742-B9EE-FEEEE2792ED3}"/>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24EE4F2C-BCF6-4641-B300-6851A763461A}"/>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58308BD-FEDD-4F75-BF88-2B261084FF2E}"/>
              </a:ext>
            </a:extLst>
          </p:cNvPr>
          <p:cNvSpPr/>
          <p:nvPr/>
        </p:nvSpPr>
        <p:spPr>
          <a:xfrm>
            <a:off x="153884" y="1072882"/>
            <a:ext cx="3723776"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inbound allow list of Contoso tenant</a:t>
            </a:r>
          </a:p>
        </p:txBody>
      </p:sp>
      <p:sp>
        <p:nvSpPr>
          <p:cNvPr id="6" name="TextBox 5">
            <a:extLst>
              <a:ext uri="{FF2B5EF4-FFF2-40B4-BE49-F238E27FC236}">
                <a16:creationId xmlns:a16="http://schemas.microsoft.com/office/drawing/2014/main" id="{2FFEB57A-E2B9-4979-A807-04C71FD250A6}"/>
              </a:ext>
            </a:extLst>
          </p:cNvPr>
          <p:cNvSpPr txBox="1"/>
          <p:nvPr/>
        </p:nvSpPr>
        <p:spPr>
          <a:xfrm>
            <a:off x="3561722" y="1853477"/>
            <a:ext cx="1739061" cy="567463"/>
          </a:xfrm>
          <a:prstGeom prst="rect">
            <a:avLst/>
          </a:prstGeom>
          <a:noFill/>
        </p:spPr>
        <p:txBody>
          <a:bodyPr wrap="square" rtlCol="0">
            <a:spAutoFit/>
          </a:bodyPr>
          <a:lstStyle/>
          <a:p>
            <a:pPr defTabSz="870963">
              <a:defRPr/>
            </a:pPr>
            <a:r>
              <a:rPr lang="en-US" sz="1029">
                <a:solidFill>
                  <a:srgbClr val="3C3C41"/>
                </a:solidFill>
                <a:latin typeface="Segoe UI"/>
              </a:rPr>
              <a:t>Contoso User is blocked connecting using </a:t>
            </a:r>
            <a:r>
              <a:rPr lang="en-US" sz="1029" err="1">
                <a:solidFill>
                  <a:srgbClr val="3C3C41"/>
                </a:solidFill>
                <a:latin typeface="Segoe UI"/>
              </a:rPr>
              <a:t>Fabrikam</a:t>
            </a:r>
            <a:r>
              <a:rPr lang="en-US" sz="1029">
                <a:solidFill>
                  <a:srgbClr val="3C3C41"/>
                </a:solidFill>
                <a:latin typeface="Segoe UI"/>
              </a:rPr>
              <a:t> credentials </a:t>
            </a:r>
          </a:p>
        </p:txBody>
      </p:sp>
      <p:sp>
        <p:nvSpPr>
          <p:cNvPr id="11" name="TextBox 10">
            <a:extLst>
              <a:ext uri="{FF2B5EF4-FFF2-40B4-BE49-F238E27FC236}">
                <a16:creationId xmlns:a16="http://schemas.microsoft.com/office/drawing/2014/main" id="{4C41971F-F8EB-46D3-9331-AFBD482C7536}"/>
              </a:ext>
            </a:extLst>
          </p:cNvPr>
          <p:cNvSpPr txBox="1"/>
          <p:nvPr/>
        </p:nvSpPr>
        <p:spPr>
          <a:xfrm>
            <a:off x="3536322" y="3852336"/>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can</a:t>
            </a:r>
            <a:br>
              <a:rPr lang="en-US" sz="1029">
                <a:solidFill>
                  <a:srgbClr val="3C3C41"/>
                </a:solidFill>
                <a:latin typeface="Segoe UI"/>
              </a:rPr>
            </a:br>
            <a:r>
              <a:rPr lang="en-US" sz="1029">
                <a:solidFill>
                  <a:srgbClr val="3C3C41"/>
                </a:solidFill>
                <a:latin typeface="Segoe UI"/>
              </a:rPr>
              <a:t>establish a connection</a:t>
            </a:r>
          </a:p>
          <a:p>
            <a:pPr defTabSz="870963">
              <a:defRPr/>
            </a:pPr>
            <a:r>
              <a:rPr lang="en-US" sz="1029">
                <a:solidFill>
                  <a:srgbClr val="3C3C41"/>
                </a:solidFill>
                <a:latin typeface="Segoe UI"/>
              </a:rPr>
              <a:t>using Contoso credentials </a:t>
            </a:r>
          </a:p>
        </p:txBody>
      </p:sp>
      <p:grpSp>
        <p:nvGrpSpPr>
          <p:cNvPr id="90" name="Group 89">
            <a:extLst>
              <a:ext uri="{FF2B5EF4-FFF2-40B4-BE49-F238E27FC236}">
                <a16:creationId xmlns:a16="http://schemas.microsoft.com/office/drawing/2014/main" id="{F61DAE4B-86DE-412A-BF7B-11D42D352E0A}"/>
              </a:ext>
            </a:extLst>
          </p:cNvPr>
          <p:cNvGrpSpPr/>
          <p:nvPr/>
        </p:nvGrpSpPr>
        <p:grpSpPr>
          <a:xfrm>
            <a:off x="664645" y="3047552"/>
            <a:ext cx="2336237" cy="1374692"/>
            <a:chOff x="1638148" y="3750073"/>
            <a:chExt cx="2400452" cy="1412477"/>
          </a:xfrm>
        </p:grpSpPr>
        <p:sp>
          <p:nvSpPr>
            <p:cNvPr id="91" name="Rectangle: Rounded Corners 90">
              <a:extLst>
                <a:ext uri="{FF2B5EF4-FFF2-40B4-BE49-F238E27FC236}">
                  <a16:creationId xmlns:a16="http://schemas.microsoft.com/office/drawing/2014/main" id="{9F39CC7C-ABA0-49BA-8D62-18383505C2AE}"/>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2" name="Picture 91">
              <a:extLst>
                <a:ext uri="{FF2B5EF4-FFF2-40B4-BE49-F238E27FC236}">
                  <a16:creationId xmlns:a16="http://schemas.microsoft.com/office/drawing/2014/main" id="{71A955C8-4408-46D0-8DCD-C59F88FB5D6E}"/>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3" name="TextBox 92">
            <a:extLst>
              <a:ext uri="{FF2B5EF4-FFF2-40B4-BE49-F238E27FC236}">
                <a16:creationId xmlns:a16="http://schemas.microsoft.com/office/drawing/2014/main" id="{C6016573-E518-4ECD-A819-593230117431}"/>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95" name="Group 94">
            <a:extLst>
              <a:ext uri="{FF2B5EF4-FFF2-40B4-BE49-F238E27FC236}">
                <a16:creationId xmlns:a16="http://schemas.microsoft.com/office/drawing/2014/main" id="{5A7D9223-85B6-4075-B79E-3616B83C16C6}"/>
              </a:ext>
            </a:extLst>
          </p:cNvPr>
          <p:cNvGrpSpPr/>
          <p:nvPr/>
        </p:nvGrpSpPr>
        <p:grpSpPr>
          <a:xfrm>
            <a:off x="5689671" y="1806375"/>
            <a:ext cx="2336237" cy="1374692"/>
            <a:chOff x="1638148" y="3750073"/>
            <a:chExt cx="2400452" cy="1412477"/>
          </a:xfrm>
        </p:grpSpPr>
        <p:sp>
          <p:nvSpPr>
            <p:cNvPr id="96" name="Rectangle: Rounded Corners 95">
              <a:extLst>
                <a:ext uri="{FF2B5EF4-FFF2-40B4-BE49-F238E27FC236}">
                  <a16:creationId xmlns:a16="http://schemas.microsoft.com/office/drawing/2014/main" id="{822C1B49-FE57-45A4-8E0C-5B075F58F67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7" name="Picture 96">
              <a:extLst>
                <a:ext uri="{FF2B5EF4-FFF2-40B4-BE49-F238E27FC236}">
                  <a16:creationId xmlns:a16="http://schemas.microsoft.com/office/drawing/2014/main" id="{4B66E360-DE7C-4BEA-9E15-1A1033380B86}"/>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108" name="TextBox 107">
            <a:extLst>
              <a:ext uri="{FF2B5EF4-FFF2-40B4-BE49-F238E27FC236}">
                <a16:creationId xmlns:a16="http://schemas.microsoft.com/office/drawing/2014/main" id="{E4470494-EB68-420B-A026-E0FA78E1DD39}"/>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2" name="Straight Arrow Connector 11">
            <a:extLst>
              <a:ext uri="{FF2B5EF4-FFF2-40B4-BE49-F238E27FC236}">
                <a16:creationId xmlns:a16="http://schemas.microsoft.com/office/drawing/2014/main" id="{F40C7F25-2031-42DA-943D-03CD82150358}"/>
              </a:ext>
            </a:extLst>
          </p:cNvPr>
          <p:cNvCxnSpPr>
            <a:cxnSpLocks/>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20BCF34-C347-4175-A4DC-3F7495AF22E9}"/>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Multiplication Sign 9">
            <a:extLst>
              <a:ext uri="{FF2B5EF4-FFF2-40B4-BE49-F238E27FC236}">
                <a16:creationId xmlns:a16="http://schemas.microsoft.com/office/drawing/2014/main" id="{F7B251EC-BA1C-45DC-8B3D-22400087596A}"/>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43" name="Group 42">
            <a:extLst>
              <a:ext uri="{FF2B5EF4-FFF2-40B4-BE49-F238E27FC236}">
                <a16:creationId xmlns:a16="http://schemas.microsoft.com/office/drawing/2014/main" id="{772C2564-62CA-43BB-B841-5DDA80246EAB}"/>
              </a:ext>
            </a:extLst>
          </p:cNvPr>
          <p:cNvGrpSpPr/>
          <p:nvPr/>
        </p:nvGrpSpPr>
        <p:grpSpPr>
          <a:xfrm>
            <a:off x="630723" y="2073409"/>
            <a:ext cx="2383847" cy="859677"/>
            <a:chOff x="630723" y="2073409"/>
            <a:chExt cx="2383847" cy="859677"/>
          </a:xfrm>
        </p:grpSpPr>
        <p:sp>
          <p:nvSpPr>
            <p:cNvPr id="44" name="Rectangle 43">
              <a:extLst>
                <a:ext uri="{FF2B5EF4-FFF2-40B4-BE49-F238E27FC236}">
                  <a16:creationId xmlns:a16="http://schemas.microsoft.com/office/drawing/2014/main" id="{410C4E9C-6B12-4046-B9D8-D15B435E3C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8190A183-53A9-4B97-A5B7-0F7B88A5F14A}"/>
                </a:ext>
              </a:extLst>
            </p:cNvPr>
            <p:cNvGrpSpPr/>
            <p:nvPr/>
          </p:nvGrpSpPr>
          <p:grpSpPr>
            <a:xfrm>
              <a:off x="630723" y="2660244"/>
              <a:ext cx="2370159" cy="158377"/>
              <a:chOff x="3911312" y="4156373"/>
              <a:chExt cx="1581965" cy="105709"/>
            </a:xfrm>
          </p:grpSpPr>
          <p:sp>
            <p:nvSpPr>
              <p:cNvPr id="50" name="Rectangle 24">
                <a:extLst>
                  <a:ext uri="{FF2B5EF4-FFF2-40B4-BE49-F238E27FC236}">
                    <a16:creationId xmlns:a16="http://schemas.microsoft.com/office/drawing/2014/main" id="{A661E523-D166-427D-99B8-61B966F6E447}"/>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1" name="Rectangle 34">
                <a:extLst>
                  <a:ext uri="{FF2B5EF4-FFF2-40B4-BE49-F238E27FC236}">
                    <a16:creationId xmlns:a16="http://schemas.microsoft.com/office/drawing/2014/main" id="{78D621D6-C26B-4C55-A0A9-A41CED550875}"/>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6" name="Picture 45" descr="A picture containing shape&#10;&#10;Description automatically generated">
              <a:extLst>
                <a:ext uri="{FF2B5EF4-FFF2-40B4-BE49-F238E27FC236}">
                  <a16:creationId xmlns:a16="http://schemas.microsoft.com/office/drawing/2014/main" id="{08CD2589-A4B4-42D5-9943-33FE9E15D81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49" name="Picture 48" descr="A picture containing shape&#10;&#10;Description automatically generated">
              <a:extLst>
                <a:ext uri="{FF2B5EF4-FFF2-40B4-BE49-F238E27FC236}">
                  <a16:creationId xmlns:a16="http://schemas.microsoft.com/office/drawing/2014/main" id="{18192863-568F-451F-85DE-29A802BE522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2" name="Group 51">
            <a:extLst>
              <a:ext uri="{FF2B5EF4-FFF2-40B4-BE49-F238E27FC236}">
                <a16:creationId xmlns:a16="http://schemas.microsoft.com/office/drawing/2014/main" id="{089CDE90-2988-4EF7-8BDE-5873107247EF}"/>
              </a:ext>
            </a:extLst>
          </p:cNvPr>
          <p:cNvGrpSpPr/>
          <p:nvPr/>
        </p:nvGrpSpPr>
        <p:grpSpPr>
          <a:xfrm>
            <a:off x="5640110" y="3422497"/>
            <a:ext cx="2383847" cy="859677"/>
            <a:chOff x="630723" y="2073409"/>
            <a:chExt cx="2383847" cy="859677"/>
          </a:xfrm>
        </p:grpSpPr>
        <p:sp>
          <p:nvSpPr>
            <p:cNvPr id="53" name="Rectangle 52">
              <a:extLst>
                <a:ext uri="{FF2B5EF4-FFF2-40B4-BE49-F238E27FC236}">
                  <a16:creationId xmlns:a16="http://schemas.microsoft.com/office/drawing/2014/main" id="{CDF93C37-7D5E-4B8B-92DE-4B3B6F25F692}"/>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EDB0E970-018D-4E86-9312-97EAA474DBF0}"/>
                </a:ext>
              </a:extLst>
            </p:cNvPr>
            <p:cNvGrpSpPr/>
            <p:nvPr/>
          </p:nvGrpSpPr>
          <p:grpSpPr>
            <a:xfrm>
              <a:off x="630723" y="2660244"/>
              <a:ext cx="2370159" cy="158377"/>
              <a:chOff x="3911312" y="4156373"/>
              <a:chExt cx="1581965" cy="105709"/>
            </a:xfrm>
          </p:grpSpPr>
          <p:sp>
            <p:nvSpPr>
              <p:cNvPr id="57" name="Rectangle 24">
                <a:extLst>
                  <a:ext uri="{FF2B5EF4-FFF2-40B4-BE49-F238E27FC236}">
                    <a16:creationId xmlns:a16="http://schemas.microsoft.com/office/drawing/2014/main" id="{67CA5354-3653-4457-AE90-E291380563D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8" name="Rectangle 34">
                <a:extLst>
                  <a:ext uri="{FF2B5EF4-FFF2-40B4-BE49-F238E27FC236}">
                    <a16:creationId xmlns:a16="http://schemas.microsoft.com/office/drawing/2014/main" id="{D16FE891-D556-4090-8189-955489E38472}"/>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5" name="Picture 54" descr="A picture containing shape&#10;&#10;Description automatically generated">
              <a:extLst>
                <a:ext uri="{FF2B5EF4-FFF2-40B4-BE49-F238E27FC236}">
                  <a16:creationId xmlns:a16="http://schemas.microsoft.com/office/drawing/2014/main" id="{AFE93539-5825-4EA0-9DB0-DB2DB9D9802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6" name="Picture 55" descr="A picture containing shape&#10;&#10;Description automatically generated">
              <a:extLst>
                <a:ext uri="{FF2B5EF4-FFF2-40B4-BE49-F238E27FC236}">
                  <a16:creationId xmlns:a16="http://schemas.microsoft.com/office/drawing/2014/main" id="{AA351746-8E77-4033-AB3A-9CD0C873812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40945950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out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153884" y="1072882"/>
            <a:ext cx="3815147"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outbound allow list of Contoso tenant</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493984" y="3895357"/>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is</a:t>
            </a:r>
            <a:br>
              <a:rPr lang="en-US" sz="1029">
                <a:solidFill>
                  <a:srgbClr val="3C3C41"/>
                </a:solidFill>
                <a:latin typeface="Segoe UI"/>
              </a:rPr>
            </a:br>
            <a:r>
              <a:rPr lang="en-US" sz="1029">
                <a:solidFill>
                  <a:srgbClr val="3C3C41"/>
                </a:solidFill>
                <a:latin typeface="Segoe UI"/>
              </a:rPr>
              <a:t>blocked connecting 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47" name="TextBox 46">
            <a:extLst>
              <a:ext uri="{FF2B5EF4-FFF2-40B4-BE49-F238E27FC236}">
                <a16:creationId xmlns:a16="http://schemas.microsoft.com/office/drawing/2014/main" id="{1F345BF9-BE50-4398-B6B4-1A4678FDC492}"/>
              </a:ext>
            </a:extLst>
          </p:cNvPr>
          <p:cNvSpPr txBox="1"/>
          <p:nvPr/>
        </p:nvSpPr>
        <p:spPr>
          <a:xfrm>
            <a:off x="3516681" y="1993490"/>
            <a:ext cx="1739061" cy="725840"/>
          </a:xfrm>
          <a:prstGeom prst="rect">
            <a:avLst/>
          </a:prstGeom>
          <a:noFill/>
        </p:spPr>
        <p:txBody>
          <a:bodyPr wrap="square" rtlCol="0">
            <a:spAutoFit/>
          </a:bodyPr>
          <a:lstStyle/>
          <a:p>
            <a:pPr defTabSz="870963">
              <a:defRPr/>
            </a:pPr>
            <a:r>
              <a:rPr lang="en-US" sz="1029">
                <a:solidFill>
                  <a:srgbClr val="3C3C41"/>
                </a:solidFill>
                <a:latin typeface="Segoe UI"/>
              </a:rPr>
              <a:t>Contoso User can establish </a:t>
            </a:r>
          </a:p>
          <a:p>
            <a:pPr defTabSz="870963">
              <a:defRPr/>
            </a:pPr>
            <a:r>
              <a:rPr lang="en-US" sz="1029">
                <a:solidFill>
                  <a:srgbClr val="3C3C41"/>
                </a:solidFill>
                <a:latin typeface="Segoe UI"/>
              </a:rPr>
              <a:t>a connection using </a:t>
            </a:r>
            <a:r>
              <a:rPr lang="en-US" sz="1029" err="1">
                <a:solidFill>
                  <a:srgbClr val="3C3C41"/>
                </a:solidFill>
                <a:latin typeface="Segoe UI"/>
              </a:rPr>
              <a:t>Fabrikam</a:t>
            </a:r>
            <a:r>
              <a:rPr lang="en-US" sz="1029">
                <a:solidFill>
                  <a:srgbClr val="3C3C41"/>
                </a:solidFill>
                <a:latin typeface="Segoe UI"/>
              </a:rPr>
              <a:t> credentials </a:t>
            </a:r>
          </a:p>
        </p:txBody>
      </p:sp>
      <p:sp>
        <p:nvSpPr>
          <p:cNvPr id="48" name="Hexagon 47">
            <a:extLst>
              <a:ext uri="{FF2B5EF4-FFF2-40B4-BE49-F238E27FC236}">
                <a16:creationId xmlns:a16="http://schemas.microsoft.com/office/drawing/2014/main" id="{D46F9E28-7F65-4754-8894-814C2A82C531}"/>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4198079" y="3508924"/>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81" name="Group 80">
            <a:extLst>
              <a:ext uri="{FF2B5EF4-FFF2-40B4-BE49-F238E27FC236}">
                <a16:creationId xmlns:a16="http://schemas.microsoft.com/office/drawing/2014/main" id="{696183ED-F7D8-4C87-B477-BC38BD0C2353}"/>
              </a:ext>
            </a:extLst>
          </p:cNvPr>
          <p:cNvGrpSpPr/>
          <p:nvPr/>
        </p:nvGrpSpPr>
        <p:grpSpPr>
          <a:xfrm>
            <a:off x="664645" y="3047552"/>
            <a:ext cx="2336237" cy="1374692"/>
            <a:chOff x="1638148" y="3750073"/>
            <a:chExt cx="2400452" cy="1412477"/>
          </a:xfrm>
        </p:grpSpPr>
        <p:sp>
          <p:nvSpPr>
            <p:cNvPr id="82" name="Rectangle: Rounded Corners 81">
              <a:extLst>
                <a:ext uri="{FF2B5EF4-FFF2-40B4-BE49-F238E27FC236}">
                  <a16:creationId xmlns:a16="http://schemas.microsoft.com/office/drawing/2014/main" id="{2A89C5CB-0495-4AA0-8A4A-7DF7D248148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3" name="Picture 82">
              <a:extLst>
                <a:ext uri="{FF2B5EF4-FFF2-40B4-BE49-F238E27FC236}">
                  <a16:creationId xmlns:a16="http://schemas.microsoft.com/office/drawing/2014/main" id="{4B48C32F-52F4-4D27-8584-A2056D653C33}"/>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84" name="TextBox 83">
            <a:extLst>
              <a:ext uri="{FF2B5EF4-FFF2-40B4-BE49-F238E27FC236}">
                <a16:creationId xmlns:a16="http://schemas.microsoft.com/office/drawing/2014/main" id="{5D8B07E5-BCEB-4B93-B070-142B5DDA6E7C}"/>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86" name="Group 85">
            <a:extLst>
              <a:ext uri="{FF2B5EF4-FFF2-40B4-BE49-F238E27FC236}">
                <a16:creationId xmlns:a16="http://schemas.microsoft.com/office/drawing/2014/main" id="{A93A7522-A11A-4DDA-B431-D0C82BB9D55F}"/>
              </a:ext>
            </a:extLst>
          </p:cNvPr>
          <p:cNvGrpSpPr/>
          <p:nvPr/>
        </p:nvGrpSpPr>
        <p:grpSpPr>
          <a:xfrm>
            <a:off x="5689671" y="1806375"/>
            <a:ext cx="2336237" cy="1374692"/>
            <a:chOff x="1638148" y="3750073"/>
            <a:chExt cx="2400452" cy="1412477"/>
          </a:xfrm>
        </p:grpSpPr>
        <p:sp>
          <p:nvSpPr>
            <p:cNvPr id="87" name="Rectangle: Rounded Corners 86">
              <a:extLst>
                <a:ext uri="{FF2B5EF4-FFF2-40B4-BE49-F238E27FC236}">
                  <a16:creationId xmlns:a16="http://schemas.microsoft.com/office/drawing/2014/main" id="{0A938061-707F-460C-8277-D7D3960A1CE4}"/>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8" name="Picture 87">
              <a:extLst>
                <a:ext uri="{FF2B5EF4-FFF2-40B4-BE49-F238E27FC236}">
                  <a16:creationId xmlns:a16="http://schemas.microsoft.com/office/drawing/2014/main" id="{910D6FFA-41D8-4D60-B5BF-9110A67F6329}"/>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9" name="TextBox 98">
            <a:extLst>
              <a:ext uri="{FF2B5EF4-FFF2-40B4-BE49-F238E27FC236}">
                <a16:creationId xmlns:a16="http://schemas.microsoft.com/office/drawing/2014/main" id="{454A242A-D871-42EE-B8E7-21229E1EB4A8}"/>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00" name="Straight Arrow Connector 99">
            <a:extLst>
              <a:ext uri="{FF2B5EF4-FFF2-40B4-BE49-F238E27FC236}">
                <a16:creationId xmlns:a16="http://schemas.microsoft.com/office/drawing/2014/main" id="{A6418D93-D439-4DFC-90A0-2E3101487292}"/>
              </a:ext>
            </a:extLst>
          </p:cNvPr>
          <p:cNvCxnSpPr>
            <a:cxnSpLocks/>
          </p:cNvCxnSpPr>
          <p:nvPr/>
        </p:nvCxnSpPr>
        <p:spPr>
          <a:xfrm flipV="1">
            <a:off x="3581005" y="2700373"/>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C907EE23-F516-45A8-A108-43E65138223F}"/>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915C0A7-226D-45F4-AF43-14E6D04F1394}"/>
              </a:ext>
            </a:extLst>
          </p:cNvPr>
          <p:cNvGrpSpPr/>
          <p:nvPr/>
        </p:nvGrpSpPr>
        <p:grpSpPr>
          <a:xfrm>
            <a:off x="630723" y="2073409"/>
            <a:ext cx="2383847" cy="859677"/>
            <a:chOff x="630723" y="2073409"/>
            <a:chExt cx="2383847" cy="859677"/>
          </a:xfrm>
        </p:grpSpPr>
        <p:sp>
          <p:nvSpPr>
            <p:cNvPr id="45" name="Rectangle 44">
              <a:extLst>
                <a:ext uri="{FF2B5EF4-FFF2-40B4-BE49-F238E27FC236}">
                  <a16:creationId xmlns:a16="http://schemas.microsoft.com/office/drawing/2014/main" id="{D2B0A11F-E202-4381-B383-4CB03BECB8BE}"/>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F828CDFD-AC7C-44DB-BB36-BB05BC7CCBAE}"/>
                </a:ext>
              </a:extLst>
            </p:cNvPr>
            <p:cNvGrpSpPr/>
            <p:nvPr/>
          </p:nvGrpSpPr>
          <p:grpSpPr>
            <a:xfrm>
              <a:off x="630723" y="2660244"/>
              <a:ext cx="2370159" cy="158377"/>
              <a:chOff x="3911312" y="4156373"/>
              <a:chExt cx="1581965" cy="105709"/>
            </a:xfrm>
          </p:grpSpPr>
          <p:sp>
            <p:nvSpPr>
              <p:cNvPr id="53" name="Rectangle 24">
                <a:extLst>
                  <a:ext uri="{FF2B5EF4-FFF2-40B4-BE49-F238E27FC236}">
                    <a16:creationId xmlns:a16="http://schemas.microsoft.com/office/drawing/2014/main" id="{6FA61B17-CDAF-4655-B5D6-F5B2ADA270E4}"/>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4" name="Rectangle 34">
                <a:extLst>
                  <a:ext uri="{FF2B5EF4-FFF2-40B4-BE49-F238E27FC236}">
                    <a16:creationId xmlns:a16="http://schemas.microsoft.com/office/drawing/2014/main" id="{9B16D623-C1E8-4759-9ACE-4331D8038913}"/>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1" name="Picture 50" descr="A picture containing shape&#10;&#10;Description automatically generated">
              <a:extLst>
                <a:ext uri="{FF2B5EF4-FFF2-40B4-BE49-F238E27FC236}">
                  <a16:creationId xmlns:a16="http://schemas.microsoft.com/office/drawing/2014/main" id="{8E9FBDBF-8941-4959-8C21-7FB69999BB1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2" name="Picture 51" descr="A picture containing shape&#10;&#10;Description automatically generated">
              <a:extLst>
                <a:ext uri="{FF2B5EF4-FFF2-40B4-BE49-F238E27FC236}">
                  <a16:creationId xmlns:a16="http://schemas.microsoft.com/office/drawing/2014/main" id="{F0F75F20-0BA0-422C-8C26-F901CBD4302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5" name="Group 54">
            <a:extLst>
              <a:ext uri="{FF2B5EF4-FFF2-40B4-BE49-F238E27FC236}">
                <a16:creationId xmlns:a16="http://schemas.microsoft.com/office/drawing/2014/main" id="{5C824AE8-7EE4-4089-B692-255BB643A44D}"/>
              </a:ext>
            </a:extLst>
          </p:cNvPr>
          <p:cNvGrpSpPr/>
          <p:nvPr/>
        </p:nvGrpSpPr>
        <p:grpSpPr>
          <a:xfrm>
            <a:off x="5642061" y="3518715"/>
            <a:ext cx="2383847" cy="859677"/>
            <a:chOff x="630723" y="2073409"/>
            <a:chExt cx="2383847" cy="859677"/>
          </a:xfrm>
        </p:grpSpPr>
        <p:sp>
          <p:nvSpPr>
            <p:cNvPr id="58" name="Rectangle 57">
              <a:extLst>
                <a:ext uri="{FF2B5EF4-FFF2-40B4-BE49-F238E27FC236}">
                  <a16:creationId xmlns:a16="http://schemas.microsoft.com/office/drawing/2014/main" id="{8AED1F85-3CF5-498F-B813-72C90C3A56B9}"/>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00809581-C29A-4631-8C08-22D3F14AAC57}"/>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0EC0AA69-B10C-424B-B561-AB37A66897D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9CFCFF49-12A8-4331-B791-FBD0841DFF3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0E68B5D7-CEFF-4D16-BA4C-4BEE4095C6E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C1FC85D7-1A0C-4254-9C77-CF9A0895B75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93366917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527590"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7" y="1054243"/>
            <a:ext cx="4417043" cy="184666"/>
          </a:xfrm>
          <a:prstGeom prst="rect">
            <a:avLst/>
          </a:prstGeom>
        </p:spPr>
        <p:txBody>
          <a:bodyPr wrap="none" lIns="0" tIns="0" rIns="0" bIns="0" anchor="ctr">
            <a:spAutoFit/>
          </a:bodyPr>
          <a:lstStyle/>
          <a:p>
            <a:pPr defTabSz="896364"/>
            <a:r>
              <a:rPr lang="en-US" sz="1200" dirty="0" err="1">
                <a:solidFill>
                  <a:srgbClr val="FFFFFF"/>
                </a:solidFill>
                <a:latin typeface="Segoe UI Semibold"/>
              </a:rPr>
              <a:t>Fabrikam</a:t>
            </a:r>
            <a:r>
              <a:rPr lang="en-US" sz="1200" dirty="0">
                <a:solidFill>
                  <a:srgbClr val="FFFFFF"/>
                </a:solidFill>
                <a:latin typeface="Segoe UI Semibold"/>
              </a:rPr>
              <a:t> is added to the outbound allow list of Contoso tenant</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 establish </a:t>
            </a:r>
          </a:p>
          <a:p>
            <a:pPr defTabSz="870963">
              <a:defRPr/>
            </a:pPr>
            <a:r>
              <a:rPr lang="en-US" sz="1029" dirty="0">
                <a:solidFill>
                  <a:srgbClr val="3C3C41"/>
                </a:solidFill>
                <a:latin typeface="Segoe UI"/>
              </a:rPr>
              <a:t>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E2C4C32-C482-4843-A994-18448F1C7735}"/>
              </a:ext>
            </a:extLst>
          </p:cNvPr>
          <p:cNvGrpSpPr/>
          <p:nvPr/>
        </p:nvGrpSpPr>
        <p:grpSpPr>
          <a:xfrm>
            <a:off x="630723" y="2073409"/>
            <a:ext cx="2383847" cy="859677"/>
            <a:chOff x="630723" y="2073409"/>
            <a:chExt cx="2383847" cy="859677"/>
          </a:xfrm>
        </p:grpSpPr>
        <p:sp>
          <p:nvSpPr>
            <p:cNvPr id="47" name="Rectangle 46">
              <a:extLst>
                <a:ext uri="{FF2B5EF4-FFF2-40B4-BE49-F238E27FC236}">
                  <a16:creationId xmlns:a16="http://schemas.microsoft.com/office/drawing/2014/main" id="{9DE74EA8-DBF3-4257-B3AE-7803CAD65BCC}"/>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C76B745E-FFBA-4823-B7B0-E4358296ABF1}"/>
                </a:ext>
              </a:extLst>
            </p:cNvPr>
            <p:cNvGrpSpPr/>
            <p:nvPr/>
          </p:nvGrpSpPr>
          <p:grpSpPr>
            <a:xfrm>
              <a:off x="630723" y="2660244"/>
              <a:ext cx="2370159" cy="158377"/>
              <a:chOff x="3911312" y="4156373"/>
              <a:chExt cx="1581965" cy="105709"/>
            </a:xfrm>
          </p:grpSpPr>
          <p:sp>
            <p:nvSpPr>
              <p:cNvPr id="51" name="Rectangle 24">
                <a:extLst>
                  <a:ext uri="{FF2B5EF4-FFF2-40B4-BE49-F238E27FC236}">
                    <a16:creationId xmlns:a16="http://schemas.microsoft.com/office/drawing/2014/main" id="{5DF8366B-52B6-47D9-A20C-E8FAC37E54E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2" name="Rectangle 34">
                <a:extLst>
                  <a:ext uri="{FF2B5EF4-FFF2-40B4-BE49-F238E27FC236}">
                    <a16:creationId xmlns:a16="http://schemas.microsoft.com/office/drawing/2014/main" id="{E0F4C303-FE6F-43F2-A94A-36D7AC6A95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9" name="Picture 48" descr="A picture containing shape&#10;&#10;Description automatically generated">
              <a:extLst>
                <a:ext uri="{FF2B5EF4-FFF2-40B4-BE49-F238E27FC236}">
                  <a16:creationId xmlns:a16="http://schemas.microsoft.com/office/drawing/2014/main" id="{98AA2627-136C-4F72-8454-6ED8144D340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0" name="Picture 49" descr="A picture containing shape&#10;&#10;Description automatically generated">
              <a:extLst>
                <a:ext uri="{FF2B5EF4-FFF2-40B4-BE49-F238E27FC236}">
                  <a16:creationId xmlns:a16="http://schemas.microsoft.com/office/drawing/2014/main" id="{5BBBE0BD-9CBC-48FD-8B61-856DB708BC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4" name="Group 53">
            <a:extLst>
              <a:ext uri="{FF2B5EF4-FFF2-40B4-BE49-F238E27FC236}">
                <a16:creationId xmlns:a16="http://schemas.microsoft.com/office/drawing/2014/main" id="{32A9D5B6-9954-431E-9E44-E9997AB00A3B}"/>
              </a:ext>
            </a:extLst>
          </p:cNvPr>
          <p:cNvGrpSpPr/>
          <p:nvPr/>
        </p:nvGrpSpPr>
        <p:grpSpPr>
          <a:xfrm>
            <a:off x="5642061" y="3417971"/>
            <a:ext cx="2383847" cy="859677"/>
            <a:chOff x="630723" y="2073409"/>
            <a:chExt cx="2383847" cy="859677"/>
          </a:xfrm>
        </p:grpSpPr>
        <p:sp>
          <p:nvSpPr>
            <p:cNvPr id="55" name="Rectangle 54">
              <a:extLst>
                <a:ext uri="{FF2B5EF4-FFF2-40B4-BE49-F238E27FC236}">
                  <a16:creationId xmlns:a16="http://schemas.microsoft.com/office/drawing/2014/main" id="{63383C69-C00F-4601-8791-AC1703601A01}"/>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A428BA83-1C91-47ED-8747-21E328D07042}"/>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F7CEB00F-D90F-4A62-A434-08C93A08E61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D2A9C206-7E04-4AC9-9AC8-FF4781CC5B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E7CE2947-C940-4883-B477-9A5A6E38E8A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A1C0D2DB-4E0E-40BE-A716-1F2EED8787C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3273244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7706109-D1C5-4C43-AF39-41B5F1C18396}"/>
              </a:ext>
            </a:extLst>
          </p:cNvPr>
          <p:cNvSpPr txBox="1">
            <a:spLocks/>
          </p:cNvSpPr>
          <p:nvPr/>
        </p:nvSpPr>
        <p:spPr>
          <a:xfrm>
            <a:off x="-6579" y="1"/>
            <a:ext cx="9144000" cy="512459"/>
          </a:xfrm>
          <a:prstGeom prst="rect">
            <a:avLst/>
          </a:prstGeom>
          <a:solidFill>
            <a:schemeClr val="tx1"/>
          </a:solidFill>
        </p:spPr>
        <p:txBody>
          <a:bodyPr vert="horz" wrap="square" lIns="0" tIns="123444" rIns="0" bIns="0" rtlCol="0" anchor="ctr">
            <a:noAutofit/>
          </a:bodyPr>
          <a:lstStyle>
            <a:lvl1pPr algn="ctr" defTabSz="914367" rtl="0" eaLnBrk="1" latinLnBrk="0" hangingPunct="1">
              <a:lnSpc>
                <a:spcPct val="10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l"/>
            <a:endParaRPr lang="en-US" sz="2353">
              <a:solidFill>
                <a:schemeClr val="bg1"/>
              </a:solidFill>
            </a:endParaRPr>
          </a:p>
        </p:txBody>
      </p:sp>
      <p:sp>
        <p:nvSpPr>
          <p:cNvPr id="10" name="Rectangle 9">
            <a:extLst>
              <a:ext uri="{FF2B5EF4-FFF2-40B4-BE49-F238E27FC236}">
                <a16:creationId xmlns:a16="http://schemas.microsoft.com/office/drawing/2014/main" id="{9EB49430-7AB5-4054-9130-D1FBE34B1283}"/>
              </a:ext>
            </a:extLst>
          </p:cNvPr>
          <p:cNvSpPr/>
          <p:nvPr/>
        </p:nvSpPr>
        <p:spPr>
          <a:xfrm>
            <a:off x="6579" y="22138"/>
            <a:ext cx="7904536" cy="461665"/>
          </a:xfrm>
          <a:prstGeom prst="rect">
            <a:avLst/>
          </a:prstGeom>
          <a:solidFill>
            <a:schemeClr val="tx1"/>
          </a:solidFill>
        </p:spPr>
        <p:txBody>
          <a:bodyPr wrap="none">
            <a:spAutoFit/>
          </a:bodyPr>
          <a:lstStyle/>
          <a:p>
            <a:r>
              <a:rPr lang="en-US" sz="2400" b="1">
                <a:solidFill>
                  <a:schemeClr val="bg1"/>
                </a:solidFill>
                <a:latin typeface="+mj-lt"/>
              </a:rPr>
              <a:t>Email exfiltration blocking for O365 Outlook Connector</a:t>
            </a:r>
            <a:endParaRPr lang="en-US" sz="2400" b="1">
              <a:latin typeface="+mj-lt"/>
            </a:endParaRPr>
          </a:p>
        </p:txBody>
      </p:sp>
      <p:grpSp>
        <p:nvGrpSpPr>
          <p:cNvPr id="17" name="Group 16">
            <a:extLst>
              <a:ext uri="{FF2B5EF4-FFF2-40B4-BE49-F238E27FC236}">
                <a16:creationId xmlns:a16="http://schemas.microsoft.com/office/drawing/2014/main" id="{506B97A1-7756-40FD-AA0C-3AC9830820C2}"/>
              </a:ext>
            </a:extLst>
          </p:cNvPr>
          <p:cNvGrpSpPr/>
          <p:nvPr/>
        </p:nvGrpSpPr>
        <p:grpSpPr>
          <a:xfrm>
            <a:off x="3377437" y="262976"/>
            <a:ext cx="7320255" cy="4620240"/>
            <a:chOff x="6976257" y="1612338"/>
            <a:chExt cx="5312499" cy="3538074"/>
          </a:xfrm>
        </p:grpSpPr>
        <p:sp>
          <p:nvSpPr>
            <p:cNvPr id="20" name="Rectangle 19">
              <a:extLst>
                <a:ext uri="{FF2B5EF4-FFF2-40B4-BE49-F238E27FC236}">
                  <a16:creationId xmlns:a16="http://schemas.microsoft.com/office/drawing/2014/main" id="{CAC25A68-5074-4E12-BED8-FE2F6414257B}"/>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descr="https://pbiwebprod.blob.core.windows.net/webassets/images/Homepage_metal_large_2.png">
              <a:extLst>
                <a:ext uri="{FF2B5EF4-FFF2-40B4-BE49-F238E27FC236}">
                  <a16:creationId xmlns:a16="http://schemas.microsoft.com/office/drawing/2014/main" id="{55E12A00-1D42-4498-B89F-C27967E836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EED5074E-316B-4D9D-94E5-07A0E698FA8A}"/>
              </a:ext>
            </a:extLst>
          </p:cNvPr>
          <p:cNvGrpSpPr/>
          <p:nvPr/>
        </p:nvGrpSpPr>
        <p:grpSpPr>
          <a:xfrm>
            <a:off x="194767" y="1181642"/>
            <a:ext cx="3495419" cy="617220"/>
            <a:chOff x="254226" y="1399097"/>
            <a:chExt cx="4549633" cy="841707"/>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071882" y="1399097"/>
              <a:ext cx="3731977" cy="841707"/>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application” to identify – </a:t>
              </a:r>
              <a:r>
                <a:rPr lang="en-US" sz="1176" b="1" i="1">
                  <a:solidFill>
                    <a:srgbClr val="3C3C41"/>
                  </a:solidFill>
                  <a:latin typeface="Segoe UI"/>
                </a:rPr>
                <a:t>Microsoft Power Automate </a:t>
              </a:r>
              <a:r>
                <a:rPr lang="en-US" sz="1176">
                  <a:solidFill>
                    <a:srgbClr val="3C3C41"/>
                  </a:solidFill>
                  <a:latin typeface="Segoe UI"/>
                </a:rPr>
                <a:t>or  </a:t>
              </a:r>
              <a:r>
                <a:rPr lang="en-US" sz="1176" b="1" i="1">
                  <a:solidFill>
                    <a:srgbClr val="3C3C41"/>
                  </a:solidFill>
                  <a:latin typeface="Segoe UI"/>
                </a:rPr>
                <a:t>Microsoft Power Apps – </a:t>
              </a:r>
              <a:r>
                <a:rPr lang="en-US" sz="1176">
                  <a:solidFill>
                    <a:srgbClr val="3C3C41"/>
                  </a:solidFill>
                  <a:latin typeface="Segoe UI"/>
                </a:rPr>
                <a:t>as the client</a:t>
              </a:r>
            </a:p>
          </p:txBody>
        </p:sp>
        <p:pic>
          <p:nvPicPr>
            <p:cNvPr id="30" name="Picture 15">
              <a:extLst>
                <a:ext uri="{FF2B5EF4-FFF2-40B4-BE49-F238E27FC236}">
                  <a16:creationId xmlns:a16="http://schemas.microsoft.com/office/drawing/2014/main" id="{1ED5EB3A-5919-4C27-851F-FC9974CD70FF}"/>
                </a:ext>
              </a:extLst>
            </p:cNvPr>
            <p:cNvPicPr>
              <a:picLocks noChangeAspect="1"/>
            </p:cNvPicPr>
            <p:nvPr/>
          </p:nvPicPr>
          <p:blipFill>
            <a:blip r:embed="rId5"/>
            <a:stretch>
              <a:fillRect/>
            </a:stretch>
          </p:blipFill>
          <p:spPr>
            <a:xfrm>
              <a:off x="254226" y="1493892"/>
              <a:ext cx="605419" cy="462029"/>
            </a:xfrm>
            <a:prstGeom prst="rect">
              <a:avLst/>
            </a:prstGeom>
            <a:ln>
              <a:solidFill>
                <a:schemeClr val="bg1"/>
              </a:solidFill>
            </a:ln>
          </p:spPr>
        </p:pic>
        <p:pic>
          <p:nvPicPr>
            <p:cNvPr id="8" name="Grafik 7" descr="Etikett">
              <a:extLst>
                <a:ext uri="{FF2B5EF4-FFF2-40B4-BE49-F238E27FC236}">
                  <a16:creationId xmlns:a16="http://schemas.microsoft.com/office/drawing/2014/main" id="{DEEB72C1-A372-4F92-8D58-74F65C9272C4}"/>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7357" y="1493892"/>
              <a:ext cx="341036" cy="341036"/>
            </a:xfrm>
            <a:prstGeom prst="rect">
              <a:avLst/>
            </a:prstGeom>
          </p:spPr>
        </p:pic>
      </p:grpSp>
      <p:grpSp>
        <p:nvGrpSpPr>
          <p:cNvPr id="34" name="Group 33">
            <a:extLst>
              <a:ext uri="{FF2B5EF4-FFF2-40B4-BE49-F238E27FC236}">
                <a16:creationId xmlns:a16="http://schemas.microsoft.com/office/drawing/2014/main" id="{A7BA440F-5C46-4D23-86D9-7A797D9D5717}"/>
              </a:ext>
            </a:extLst>
          </p:cNvPr>
          <p:cNvGrpSpPr/>
          <p:nvPr/>
        </p:nvGrpSpPr>
        <p:grpSpPr>
          <a:xfrm>
            <a:off x="174676" y="1995881"/>
            <a:ext cx="3515510" cy="617220"/>
            <a:chOff x="343717" y="2343610"/>
            <a:chExt cx="476927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17" y="2391703"/>
              <a:ext cx="476249" cy="487363"/>
              <a:chOff x="6317" y="1468"/>
              <a:chExt cx="300" cy="307"/>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4" name="Freeform 22">
                <a:extLst>
                  <a:ext uri="{FF2B5EF4-FFF2-40B4-BE49-F238E27FC236}">
                    <a16:creationId xmlns:a16="http://schemas.microsoft.com/office/drawing/2014/main" id="{8F9DBD93-3A6C-4E47-A653-F5133B25037E}"/>
                  </a:ext>
                </a:extLst>
              </p:cNvPr>
              <p:cNvSpPr>
                <a:spLocks noEditPoints="1"/>
              </p:cNvSpPr>
              <p:nvPr/>
            </p:nvSpPr>
            <p:spPr bwMode="auto">
              <a:xfrm>
                <a:off x="638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5" name="Freeform 23">
                <a:extLst>
                  <a:ext uri="{FF2B5EF4-FFF2-40B4-BE49-F238E27FC236}">
                    <a16:creationId xmlns:a16="http://schemas.microsoft.com/office/drawing/2014/main" id="{9375A08A-B028-4F6C-8B93-E95BF829C307}"/>
                  </a:ext>
                </a:extLst>
              </p:cNvPr>
              <p:cNvSpPr>
                <a:spLocks/>
              </p:cNvSpPr>
              <p:nvPr/>
            </p:nvSpPr>
            <p:spPr bwMode="auto">
              <a:xfrm>
                <a:off x="648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82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8" name="Freeform 24">
                <a:extLst>
                  <a:ext uri="{FF2B5EF4-FFF2-40B4-BE49-F238E27FC236}">
                    <a16:creationId xmlns:a16="http://schemas.microsoft.com/office/drawing/2014/main" id="{5350C910-900E-49B4-9672-690172E50BD5}"/>
                  </a:ext>
                </a:extLst>
              </p:cNvPr>
              <p:cNvSpPr>
                <a:spLocks/>
              </p:cNvSpPr>
              <p:nvPr/>
            </p:nvSpPr>
            <p:spPr bwMode="auto">
              <a:xfrm>
                <a:off x="642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operation-type” to identify – </a:t>
              </a:r>
              <a:r>
                <a:rPr lang="en-US" sz="1176" b="1" i="1">
                  <a:solidFill>
                    <a:srgbClr val="3C3C41"/>
                  </a:solidFill>
                  <a:latin typeface="Segoe UI"/>
                </a:rPr>
                <a:t>Forward</a:t>
              </a:r>
              <a:r>
                <a:rPr lang="en-US" sz="1176">
                  <a:solidFill>
                    <a:srgbClr val="3C3C41"/>
                  </a:solidFill>
                  <a:latin typeface="Segoe UI"/>
                </a:rPr>
                <a:t>, </a:t>
              </a:r>
              <a:r>
                <a:rPr lang="en-US" sz="1176" b="1" i="1">
                  <a:solidFill>
                    <a:srgbClr val="3C3C41"/>
                  </a:solidFill>
                  <a:latin typeface="Segoe UI"/>
                </a:rPr>
                <a:t>Reply</a:t>
              </a:r>
              <a:r>
                <a:rPr lang="en-US" sz="1176">
                  <a:solidFill>
                    <a:srgbClr val="3C3C41"/>
                  </a:solidFill>
                  <a:latin typeface="Segoe UI"/>
                </a:rPr>
                <a:t> or </a:t>
              </a:r>
              <a:r>
                <a:rPr lang="en-US" sz="1176" b="1" i="1">
                  <a:solidFill>
                    <a:srgbClr val="3C3C41"/>
                  </a:solidFill>
                  <a:latin typeface="Segoe UI"/>
                </a:rPr>
                <a:t>Send</a:t>
              </a:r>
              <a:r>
                <a:rPr lang="en-US" sz="1176">
                  <a:solidFill>
                    <a:srgbClr val="3C3C41"/>
                  </a:solidFill>
                  <a:latin typeface="Segoe UI"/>
                </a:rPr>
                <a:t> – as message operation.</a:t>
              </a:r>
            </a:p>
          </p:txBody>
        </p:sp>
      </p:grpSp>
      <p:grpSp>
        <p:nvGrpSpPr>
          <p:cNvPr id="11" name="Group 10">
            <a:extLst>
              <a:ext uri="{FF2B5EF4-FFF2-40B4-BE49-F238E27FC236}">
                <a16:creationId xmlns:a16="http://schemas.microsoft.com/office/drawing/2014/main" id="{E28F57A8-FEC5-4D3B-BD94-E7926F31B094}"/>
              </a:ext>
            </a:extLst>
          </p:cNvPr>
          <p:cNvGrpSpPr/>
          <p:nvPr/>
        </p:nvGrpSpPr>
        <p:grpSpPr>
          <a:xfrm>
            <a:off x="234355" y="2753172"/>
            <a:ext cx="3497410" cy="454868"/>
            <a:chOff x="477615" y="3479175"/>
            <a:chExt cx="4694055" cy="602206"/>
          </a:xfrm>
        </p:grpSpPr>
        <p:sp>
          <p:nvSpPr>
            <p:cNvPr id="27" name="transform_2" title="Icon of a circle and a square with a curved arrow between them">
              <a:extLst>
                <a:ext uri="{FF2B5EF4-FFF2-40B4-BE49-F238E27FC236}">
                  <a16:creationId xmlns:a16="http://schemas.microsoft.com/office/drawing/2014/main" id="{357537CD-53E0-4D83-98B3-AB16E9D9A500}"/>
                </a:ext>
              </a:extLst>
            </p:cNvPr>
            <p:cNvSpPr>
              <a:spLocks noChangeAspect="1" noEditPoints="1"/>
            </p:cNvSpPr>
            <p:nvPr/>
          </p:nvSpPr>
          <p:spPr bwMode="auto">
            <a:xfrm>
              <a:off x="477615" y="3588327"/>
              <a:ext cx="394891" cy="36576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rgbClr val="008272"/>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a:gradFill>
                  <a:gsLst>
                    <a:gs pos="0">
                      <a:srgbClr val="505050"/>
                    </a:gs>
                    <a:gs pos="100000">
                      <a:srgbClr val="505050"/>
                    </a:gs>
                  </a:gsLst>
                  <a:lin ang="5400000" scaled="1"/>
                </a:gradFill>
                <a:latin typeface="Segoe UI"/>
              </a:endParaRPr>
            </a:p>
          </p:txBody>
        </p:sp>
        <p:sp>
          <p:nvSpPr>
            <p:cNvPr id="7" name="Rectangle 6">
              <a:extLst>
                <a:ext uri="{FF2B5EF4-FFF2-40B4-BE49-F238E27FC236}">
                  <a16:creationId xmlns:a16="http://schemas.microsoft.com/office/drawing/2014/main" id="{8CFE9B48-0C86-4E8F-8E4A-987F1B15CE6C}"/>
                </a:ext>
              </a:extLst>
            </p:cNvPr>
            <p:cNvSpPr/>
            <p:nvPr/>
          </p:nvSpPr>
          <p:spPr>
            <a:xfrm>
              <a:off x="1239751" y="3479175"/>
              <a:ext cx="3931919" cy="602206"/>
            </a:xfrm>
            <a:prstGeom prst="rect">
              <a:avLst/>
            </a:prstGeom>
          </p:spPr>
          <p:txBody>
            <a:bodyPr>
              <a:spAutoFit/>
            </a:bodyPr>
            <a:lstStyle/>
            <a:p>
              <a:pPr>
                <a:spcBef>
                  <a:spcPts val="900"/>
                </a:spcBef>
                <a:spcAft>
                  <a:spcPts val="900"/>
                </a:spcAft>
              </a:pPr>
              <a:r>
                <a:rPr lang="en-US" sz="1178">
                  <a:solidFill>
                    <a:srgbClr val="3C3C41"/>
                  </a:solidFill>
                  <a:latin typeface="Segoe UI"/>
                </a:rPr>
                <a:t>Exchange </a:t>
              </a:r>
              <a:r>
                <a:rPr lang="en-US" sz="1178" b="1" i="1">
                  <a:solidFill>
                    <a:srgbClr val="3C3C41"/>
                  </a:solidFill>
                  <a:latin typeface="Segoe UI"/>
                </a:rPr>
                <a:t>mail flow rules </a:t>
              </a:r>
              <a:r>
                <a:rPr lang="en-US" sz="1178">
                  <a:solidFill>
                    <a:srgbClr val="3C3C41"/>
                  </a:solidFill>
                  <a:latin typeface="Segoe UI"/>
                </a:rPr>
                <a:t>can be set up to filter appropriate message. </a:t>
              </a:r>
            </a:p>
          </p:txBody>
        </p:sp>
      </p:grpSp>
      <p:grpSp>
        <p:nvGrpSpPr>
          <p:cNvPr id="4" name="Group 3">
            <a:extLst>
              <a:ext uri="{FF2B5EF4-FFF2-40B4-BE49-F238E27FC236}">
                <a16:creationId xmlns:a16="http://schemas.microsoft.com/office/drawing/2014/main" id="{41404B21-73EF-4790-9B9B-68AF8778EE41}"/>
              </a:ext>
            </a:extLst>
          </p:cNvPr>
          <p:cNvGrpSpPr/>
          <p:nvPr/>
        </p:nvGrpSpPr>
        <p:grpSpPr>
          <a:xfrm>
            <a:off x="234355" y="3395353"/>
            <a:ext cx="3449781" cy="642933"/>
            <a:chOff x="425436" y="4374683"/>
            <a:chExt cx="4599708" cy="857244"/>
          </a:xfrm>
        </p:grpSpPr>
        <p:sp>
          <p:nvSpPr>
            <p:cNvPr id="12" name="Rectangle 11">
              <a:extLst>
                <a:ext uri="{FF2B5EF4-FFF2-40B4-BE49-F238E27FC236}">
                  <a16:creationId xmlns:a16="http://schemas.microsoft.com/office/drawing/2014/main" id="{22898BBF-BA98-4631-A196-8B7A8492FD5E}"/>
                </a:ext>
              </a:extLst>
            </p:cNvPr>
            <p:cNvSpPr/>
            <p:nvPr/>
          </p:nvSpPr>
          <p:spPr>
            <a:xfrm>
              <a:off x="1097277" y="4374683"/>
              <a:ext cx="3927867" cy="857244"/>
            </a:xfrm>
            <a:prstGeom prst="rect">
              <a:avLst/>
            </a:prstGeom>
          </p:spPr>
          <p:txBody>
            <a:bodyPr>
              <a:spAutoFit/>
            </a:bodyPr>
            <a:lstStyle/>
            <a:p>
              <a:pPr>
                <a:spcBef>
                  <a:spcPts val="900"/>
                </a:spcBef>
                <a:spcAft>
                  <a:spcPts val="900"/>
                </a:spcAft>
              </a:pPr>
              <a:r>
                <a:rPr lang="en-US" sz="1178">
                  <a:solidFill>
                    <a:srgbClr val="3C3C41"/>
                  </a:solidFill>
                  <a:latin typeface="Segoe UI"/>
                </a:rPr>
                <a:t>Individual apps or flows can be exempted by using </a:t>
              </a:r>
              <a:r>
                <a:rPr lang="en-US" sz="1200" b="1" i="1">
                  <a:solidFill>
                    <a:srgbClr val="171717"/>
                  </a:solidFill>
                  <a:latin typeface="Segoe UI" panose="020B0502040204020203" pitchFamily="34" charset="0"/>
                </a:rPr>
                <a:t>User-Agent ID</a:t>
              </a:r>
              <a:r>
                <a:rPr lang="en-US" sz="1200" i="1">
                  <a:solidFill>
                    <a:srgbClr val="171717"/>
                  </a:solidFill>
                  <a:latin typeface="Segoe UI" panose="020B0502040204020203" pitchFamily="34" charset="0"/>
                </a:rPr>
                <a:t> </a:t>
              </a:r>
              <a:r>
                <a:rPr lang="en-US" sz="1200">
                  <a:solidFill>
                    <a:srgbClr val="171717"/>
                  </a:solidFill>
                  <a:latin typeface="Segoe UI" panose="020B0502040204020203" pitchFamily="34" charset="0"/>
                </a:rPr>
                <a:t>in the SMTP header</a:t>
              </a:r>
              <a:endParaRPr lang="en-US" sz="1178" i="1" spc="-37">
                <a:solidFill>
                  <a:srgbClr val="3C3C41"/>
                </a:solidFill>
                <a:latin typeface="Segoe UI"/>
              </a:endParaRPr>
            </a:p>
          </p:txBody>
        </p:sp>
        <p:sp>
          <p:nvSpPr>
            <p:cNvPr id="26" name="Processing_E9F5" title="Icon of two interlocked gears">
              <a:extLst>
                <a:ext uri="{FF2B5EF4-FFF2-40B4-BE49-F238E27FC236}">
                  <a16:creationId xmlns:a16="http://schemas.microsoft.com/office/drawing/2014/main" id="{46FA9BC0-BEEC-4453-912D-93318F0A78C2}"/>
                </a:ext>
              </a:extLst>
            </p:cNvPr>
            <p:cNvSpPr>
              <a:spLocks noChangeAspect="1" noEditPoints="1"/>
            </p:cNvSpPr>
            <p:nvPr/>
          </p:nvSpPr>
          <p:spPr bwMode="auto">
            <a:xfrm>
              <a:off x="425436" y="4517443"/>
              <a:ext cx="523533" cy="4517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grpSp>
      <p:sp>
        <p:nvSpPr>
          <p:cNvPr id="31" name="Rectangle 30">
            <a:extLst>
              <a:ext uri="{FF2B5EF4-FFF2-40B4-BE49-F238E27FC236}">
                <a16:creationId xmlns:a16="http://schemas.microsoft.com/office/drawing/2014/main" id="{708DE1F8-B09D-4F15-A980-C2FC0288D6DC}"/>
              </a:ext>
            </a:extLst>
          </p:cNvPr>
          <p:cNvSpPr/>
          <p:nvPr/>
        </p:nvSpPr>
        <p:spPr>
          <a:xfrm>
            <a:off x="100853" y="4835899"/>
            <a:ext cx="1775012" cy="307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Picture 2">
            <a:extLst>
              <a:ext uri="{FF2B5EF4-FFF2-40B4-BE49-F238E27FC236}">
                <a16:creationId xmlns:a16="http://schemas.microsoft.com/office/drawing/2014/main" id="{1F4941CC-6E1D-413B-88D5-F70D5393AB8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589"/>
          <a:stretch/>
        </p:blipFill>
        <p:spPr>
          <a:xfrm>
            <a:off x="4336581" y="1067789"/>
            <a:ext cx="5113470" cy="3090935"/>
          </a:xfrm>
          <a:prstGeom prst="rect">
            <a:avLst/>
          </a:prstGeom>
        </p:spPr>
      </p:pic>
    </p:spTree>
    <p:custDataLst>
      <p:tags r:id="rId1"/>
    </p:custDataLst>
    <p:extLst>
      <p:ext uri="{BB962C8B-B14F-4D97-AF65-F5344CB8AC3E}">
        <p14:creationId xmlns:p14="http://schemas.microsoft.com/office/powerpoint/2010/main" val="2438737292"/>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dirty="0"/>
              <a:t>Environment Access</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2</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42483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F32C12-2FE2-F34E-9429-861495829770}"/>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793"/>
            <a:ext cx="9144000" cy="5141343"/>
          </a:xfrm>
          <a:prstGeom prst="rect">
            <a:avLst/>
          </a:prstGeom>
        </p:spPr>
      </p:pic>
      <p:sp>
        <p:nvSpPr>
          <p:cNvPr id="2" name="Rectangle 1">
            <a:extLst>
              <a:ext uri="{FF2B5EF4-FFF2-40B4-BE49-F238E27FC236}">
                <a16:creationId xmlns:a16="http://schemas.microsoft.com/office/drawing/2014/main" id="{E7EC8B1F-6289-C24C-9967-E34802AC757F}"/>
              </a:ext>
              <a:ext uri="{C183D7F6-B498-43B3-948B-1728B52AA6E4}">
                <adec:decorative xmlns:adec="http://schemas.microsoft.com/office/drawing/2017/decorative" val="1"/>
              </a:ext>
            </a:extLst>
          </p:cNvPr>
          <p:cNvSpPr/>
          <p:nvPr/>
        </p:nvSpPr>
        <p:spPr bwMode="auto">
          <a:xfrm>
            <a:off x="-5327" y="365"/>
            <a:ext cx="9149327" cy="5149029"/>
          </a:xfrm>
          <a:prstGeom prst="rect">
            <a:avLst/>
          </a:prstGeom>
          <a:gradFill flip="none" rotWithShape="1">
            <a:gsLst>
              <a:gs pos="44000">
                <a:srgbClr val="0A0A0A">
                  <a:lumMod val="36000"/>
                  <a:alpha val="87000"/>
                </a:srgbClr>
              </a:gs>
              <a:gs pos="100000">
                <a:schemeClr val="bg1">
                  <a:lumMod val="0"/>
                  <a:alpha val="48000"/>
                </a:schemeClr>
              </a:gs>
              <a:gs pos="0">
                <a:schemeClr val="tx1">
                  <a:lumMod val="47000"/>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7" name="Title 1">
            <a:extLst>
              <a:ext uri="{FF2B5EF4-FFF2-40B4-BE49-F238E27FC236}">
                <a16:creationId xmlns:a16="http://schemas.microsoft.com/office/drawing/2014/main" id="{187D0945-1A96-6644-8AB0-35A8E493A4BE}"/>
              </a:ext>
            </a:extLst>
          </p:cNvPr>
          <p:cNvSpPr txBox="1">
            <a:spLocks noGrp="1"/>
          </p:cNvSpPr>
          <p:nvPr>
            <p:ph type="title" idx="4294967295"/>
          </p:nvPr>
        </p:nvSpPr>
        <p:spPr>
          <a:xfrm>
            <a:off x="0" y="479425"/>
            <a:ext cx="8293100" cy="554038"/>
          </a:xfrm>
          <a:prstGeom prst="rect">
            <a:avLst/>
          </a:prstGeom>
          <a:noFill/>
          <a:ln>
            <a:noFill/>
            <a:prstDash/>
          </a:ln>
          <a:effectLst/>
        </p:spPr>
        <p:txBody>
          <a:bodyPr rot="0" spcFirstLastPara="0" vertOverflow="overflow" horzOverflow="overflow" vert="horz" wrap="square" lIns="0" tIns="0" rIns="0" bIns="134464" numCol="1" spcCol="0" rtlCol="0" fromWordArt="0" anchor="b" anchorCtr="0" forceAA="0" compatLnSpc="1">
            <a:prstTxWarp prst="textNoShape">
              <a:avLst/>
            </a:prstTxWarp>
            <a:noAutofit/>
          </a:bodyPr>
          <a:lstStyle>
            <a:lvl1pPr algn="l" defTabSz="932742" rtl="0" eaLnBrk="1" latinLnBrk="0" hangingPunct="1">
              <a:lnSpc>
                <a:spcPct val="100000"/>
              </a:lnSpc>
              <a:spcBef>
                <a:spcPct val="0"/>
              </a:spcBef>
              <a:buNone/>
              <a:defRPr lang="en-US" sz="5400" b="0" strike="noStrike" kern="1200" cap="none" spc="-150" baseline="0">
                <a:ln w="3175">
                  <a:noFill/>
                </a:ln>
                <a:solidFill>
                  <a:schemeClr val="bg1"/>
                </a:solidFill>
                <a:effectLst/>
                <a:latin typeface="+mj-lt"/>
                <a:ea typeface="+mn-ea"/>
                <a:cs typeface="Segoe UI" pitchFamily="34" charset="0"/>
              </a:defRPr>
            </a:lvl1pPr>
          </a:lstStyle>
          <a:p>
            <a:pPr marL="0" marR="0" lvl="0" indent="0" algn="ctr" defTabSz="685775" rtl="0" eaLnBrk="1" fontAlgn="auto" latinLnBrk="0" hangingPunct="1">
              <a:lnSpc>
                <a:spcPct val="100000"/>
              </a:lnSpc>
              <a:spcBef>
                <a:spcPct val="0"/>
              </a:spcBef>
              <a:spcAft>
                <a:spcPts val="0"/>
              </a:spcAft>
              <a:buClrTx/>
              <a:buSzTx/>
              <a:buFontTx/>
              <a:buNone/>
              <a:tabLst/>
              <a:defRPr/>
            </a:pPr>
            <a:r>
              <a:rPr kumimoji="0" lang="en-US" sz="2353" b="0" i="0" u="none" strike="noStrike" kern="1200" cap="none" spc="-110" normalizeH="0" baseline="0" noProof="0" dirty="0">
                <a:ln w="3175">
                  <a:noFill/>
                </a:ln>
                <a:solidFill>
                  <a:srgbClr val="FFFFFF"/>
                </a:solidFill>
                <a:effectLst/>
                <a:uLnTx/>
                <a:uFillTx/>
                <a:latin typeface="+mj-lt"/>
                <a:ea typeface="+mn-ea"/>
                <a:cs typeface="Segoe UI" pitchFamily="34" charset="0"/>
              </a:rPr>
              <a:t>Take advantage of the opportunities together</a:t>
            </a:r>
          </a:p>
        </p:txBody>
      </p:sp>
      <p:sp>
        <p:nvSpPr>
          <p:cNvPr id="18" name="Text Placeholder 6">
            <a:extLst>
              <a:ext uri="{FF2B5EF4-FFF2-40B4-BE49-F238E27FC236}">
                <a16:creationId xmlns:a16="http://schemas.microsoft.com/office/drawing/2014/main" id="{5709F74D-8CF7-284B-9DCB-5B927BA39508}"/>
              </a:ext>
              <a:ext uri="{C183D7F6-B498-43B3-948B-1728B52AA6E4}">
                <adec:decorative xmlns:adec="http://schemas.microsoft.com/office/drawing/2017/decorative" val="1"/>
              </a:ext>
            </a:extLst>
          </p:cNvPr>
          <p:cNvSpPr txBox="1">
            <a:spLocks/>
          </p:cNvSpPr>
          <p:nvPr/>
        </p:nvSpPr>
        <p:spPr>
          <a:xfrm>
            <a:off x="3630284" y="2091986"/>
            <a:ext cx="3624257" cy="46219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1" fontAlgn="base">
              <a:lnSpc>
                <a:spcPct val="100000"/>
              </a:lnSpc>
              <a:spcBef>
                <a:spcPct val="0"/>
              </a:spcBef>
              <a:spcAft>
                <a:spcPct val="0"/>
              </a:spcAft>
              <a:defRPr/>
            </a:pPr>
            <a:endParaRPr lang="en-GB" sz="1176" dirty="0">
              <a:solidFill>
                <a:srgbClr val="FFFFFF"/>
              </a:solidFill>
              <a:latin typeface="Segoe UI Light" panose="020B0502040204020203" pitchFamily="34" charset="0"/>
              <a:cs typeface="Segoe UI Light" panose="020B0502040204020203" pitchFamily="34" charset="0"/>
            </a:endParaRPr>
          </a:p>
        </p:txBody>
      </p:sp>
      <p:sp>
        <p:nvSpPr>
          <p:cNvPr id="32" name="Rectangle 31" descr="65%">
            <a:extLst>
              <a:ext uri="{FF2B5EF4-FFF2-40B4-BE49-F238E27FC236}">
                <a16:creationId xmlns:a16="http://schemas.microsoft.com/office/drawing/2014/main" id="{F57D2E40-30D0-0042-8758-735086594219}"/>
              </a:ext>
            </a:extLst>
          </p:cNvPr>
          <p:cNvSpPr/>
          <p:nvPr/>
        </p:nvSpPr>
        <p:spPr bwMode="auto">
          <a:xfrm>
            <a:off x="427238" y="1400393"/>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 Placeholder 6">
            <a:extLst>
              <a:ext uri="{FF2B5EF4-FFF2-40B4-BE49-F238E27FC236}">
                <a16:creationId xmlns:a16="http://schemas.microsoft.com/office/drawing/2014/main" id="{5270544A-FDC6-7D4B-821F-369681E9A0B1}"/>
              </a:ext>
            </a:extLst>
          </p:cNvPr>
          <p:cNvSpPr txBox="1">
            <a:spLocks/>
          </p:cNvSpPr>
          <p:nvPr/>
        </p:nvSpPr>
        <p:spPr>
          <a:xfrm>
            <a:off x="3268611" y="1353501"/>
            <a:ext cx="2848271" cy="664823"/>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pp Development Backlog</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65% of organizations report an app development backlog.</a:t>
            </a:r>
          </a:p>
        </p:txBody>
      </p:sp>
      <p:sp>
        <p:nvSpPr>
          <p:cNvPr id="35" name="Rectangle 34" descr="37%">
            <a:extLst>
              <a:ext uri="{FF2B5EF4-FFF2-40B4-BE49-F238E27FC236}">
                <a16:creationId xmlns:a16="http://schemas.microsoft.com/office/drawing/2014/main" id="{E6AD41FE-9B53-2044-8254-860C4C14033C}"/>
              </a:ext>
            </a:extLst>
          </p:cNvPr>
          <p:cNvSpPr/>
          <p:nvPr/>
        </p:nvSpPr>
        <p:spPr bwMode="auto">
          <a:xfrm>
            <a:off x="427238" y="2529636"/>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 Placeholder 6">
            <a:extLst>
              <a:ext uri="{FF2B5EF4-FFF2-40B4-BE49-F238E27FC236}">
                <a16:creationId xmlns:a16="http://schemas.microsoft.com/office/drawing/2014/main" id="{E26D869C-D78F-E147-9DD8-4DD3D72C97B0}"/>
              </a:ext>
            </a:extLst>
          </p:cNvPr>
          <p:cNvSpPr txBox="1">
            <a:spLocks/>
          </p:cNvSpPr>
          <p:nvPr/>
        </p:nvSpPr>
        <p:spPr>
          <a:xfrm>
            <a:off x="3268612" y="2452324"/>
            <a:ext cx="3769529" cy="758776"/>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Paper processes</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37% of organizations are still using paper to manage critical business processes</a:t>
            </a:r>
          </a:p>
        </p:txBody>
      </p:sp>
      <p:sp>
        <p:nvSpPr>
          <p:cNvPr id="37" name="Rectangle 36" descr="69%">
            <a:extLst>
              <a:ext uri="{FF2B5EF4-FFF2-40B4-BE49-F238E27FC236}">
                <a16:creationId xmlns:a16="http://schemas.microsoft.com/office/drawing/2014/main" id="{807784A0-3B84-8542-AE0A-E5E2A1BE7397}"/>
              </a:ext>
            </a:extLst>
          </p:cNvPr>
          <p:cNvSpPr/>
          <p:nvPr/>
        </p:nvSpPr>
        <p:spPr bwMode="auto">
          <a:xfrm>
            <a:off x="437743" y="3627365"/>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 Placeholder 6">
            <a:extLst>
              <a:ext uri="{FF2B5EF4-FFF2-40B4-BE49-F238E27FC236}">
                <a16:creationId xmlns:a16="http://schemas.microsoft.com/office/drawing/2014/main" id="{71468E71-61DD-2744-A15A-B6FD1C026DFA}"/>
              </a:ext>
            </a:extLst>
          </p:cNvPr>
          <p:cNvSpPr txBox="1">
            <a:spLocks/>
          </p:cNvSpPr>
          <p:nvPr/>
        </p:nvSpPr>
        <p:spPr>
          <a:xfrm>
            <a:off x="3268612" y="3557064"/>
            <a:ext cx="3769529" cy="1324290"/>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ccelerate digital innovation and transformation</a:t>
            </a:r>
          </a:p>
          <a:p>
            <a:pPr algn="l" defTabSz="672071" fontAlgn="base">
              <a:lnSpc>
                <a:spcPct val="100000"/>
              </a:lnSpc>
              <a:spcBef>
                <a:spcPts val="882"/>
              </a:spcBef>
              <a:spcAft>
                <a:spcPts val="0"/>
              </a:spcAft>
              <a:buSzTx/>
              <a:defRPr/>
            </a:pPr>
            <a:r>
              <a:rPr lang="en-US" sz="1324" dirty="0">
                <a:solidFill>
                  <a:srgbClr val="FFFFFF"/>
                </a:solidFill>
                <a:latin typeface="Segoe UI Light" panose="020B0502040204020203" pitchFamily="34" charset="0"/>
                <a:cs typeface="Segoe UI Light" panose="020B0502040204020203" pitchFamily="34" charset="0"/>
              </a:rPr>
              <a:t>69% of organizations say that accelerating digital innovation &amp; transformation is the number 1 reason they embraced low code application development </a:t>
            </a:r>
          </a:p>
          <a:p>
            <a:pPr algn="l" defTabSz="672071" fontAlgn="base">
              <a:lnSpc>
                <a:spcPct val="100000"/>
              </a:lnSpc>
              <a:spcBef>
                <a:spcPts val="882"/>
              </a:spcBef>
              <a:spcAft>
                <a:spcPts val="0"/>
              </a:spcAft>
              <a:buSzTx/>
              <a:defRPr/>
            </a:pPr>
            <a:endParaRPr lang="en-US" sz="1471" b="1" dirty="0">
              <a:solidFill>
                <a:srgbClr val="FFFFFF"/>
              </a:solidFill>
              <a:latin typeface="Segoe UI Semibold" panose="020B0502040204020203" pitchFamily="34" charset="0"/>
              <a:cs typeface="Segoe UI Semibold" panose="020B0502040204020203" pitchFamily="34" charset="0"/>
            </a:endParaRPr>
          </a:p>
        </p:txBody>
      </p:sp>
      <p:sp>
        <p:nvSpPr>
          <p:cNvPr id="33" name="Rectangle 32">
            <a:extLst>
              <a:ext uri="{FF2B5EF4-FFF2-40B4-BE49-F238E27FC236}">
                <a16:creationId xmlns:a16="http://schemas.microsoft.com/office/drawing/2014/main" id="{F4D0C919-4DDF-5649-8B9E-1B873C004168}"/>
              </a:ext>
              <a:ext uri="{C183D7F6-B498-43B3-948B-1728B52AA6E4}">
                <adec:decorative xmlns:adec="http://schemas.microsoft.com/office/drawing/2017/decorative" val="1"/>
              </a:ext>
            </a:extLst>
          </p:cNvPr>
          <p:cNvSpPr/>
          <p:nvPr/>
        </p:nvSpPr>
        <p:spPr bwMode="auto">
          <a:xfrm>
            <a:off x="427239" y="1400393"/>
            <a:ext cx="1425068" cy="429084"/>
          </a:xfrm>
          <a:prstGeom prst="rect">
            <a:avLst/>
          </a:prstGeom>
          <a:solidFill>
            <a:srgbClr val="7427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6" name="Rectangle 35">
            <a:extLst>
              <a:ext uri="{FF2B5EF4-FFF2-40B4-BE49-F238E27FC236}">
                <a16:creationId xmlns:a16="http://schemas.microsoft.com/office/drawing/2014/main" id="{EC084050-5A41-F240-96CF-01016F43FF21}"/>
              </a:ext>
              <a:ext uri="{C183D7F6-B498-43B3-948B-1728B52AA6E4}">
                <adec:decorative xmlns:adec="http://schemas.microsoft.com/office/drawing/2017/decorative" val="1"/>
              </a:ext>
            </a:extLst>
          </p:cNvPr>
          <p:cNvSpPr/>
          <p:nvPr/>
        </p:nvSpPr>
        <p:spPr bwMode="auto">
          <a:xfrm>
            <a:off x="427239" y="2529636"/>
            <a:ext cx="1128699"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8" name="Rectangle 37">
            <a:extLst>
              <a:ext uri="{FF2B5EF4-FFF2-40B4-BE49-F238E27FC236}">
                <a16:creationId xmlns:a16="http://schemas.microsoft.com/office/drawing/2014/main" id="{5F3CBAFD-B775-5440-A35F-CDA7B5101732}"/>
              </a:ext>
              <a:ext uri="{C183D7F6-B498-43B3-948B-1728B52AA6E4}">
                <adec:decorative xmlns:adec="http://schemas.microsoft.com/office/drawing/2017/decorative" val="1"/>
              </a:ext>
            </a:extLst>
          </p:cNvPr>
          <p:cNvSpPr/>
          <p:nvPr/>
        </p:nvSpPr>
        <p:spPr bwMode="auto">
          <a:xfrm>
            <a:off x="437744" y="3627364"/>
            <a:ext cx="1624020"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16" name="Rectangle 15">
            <a:extLst>
              <a:ext uri="{FF2B5EF4-FFF2-40B4-BE49-F238E27FC236}">
                <a16:creationId xmlns:a16="http://schemas.microsoft.com/office/drawing/2014/main" id="{4015160C-B857-2142-9A54-A38E3A83EA5F}"/>
              </a:ext>
              <a:ext uri="{C183D7F6-B498-43B3-948B-1728B52AA6E4}">
                <adec:decorative xmlns:adec="http://schemas.microsoft.com/office/drawing/2017/decorative" val="1"/>
              </a:ext>
            </a:extLst>
          </p:cNvPr>
          <p:cNvSpPr/>
          <p:nvPr/>
        </p:nvSpPr>
        <p:spPr bwMode="auto">
          <a:xfrm>
            <a:off x="801131" y="1400392"/>
            <a:ext cx="677285" cy="4228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5%</a:t>
            </a:r>
          </a:p>
        </p:txBody>
      </p:sp>
      <p:sp>
        <p:nvSpPr>
          <p:cNvPr id="20" name="Rectangle 19">
            <a:extLst>
              <a:ext uri="{FF2B5EF4-FFF2-40B4-BE49-F238E27FC236}">
                <a16:creationId xmlns:a16="http://schemas.microsoft.com/office/drawing/2014/main" id="{ED4550EC-267E-0F4D-9CAC-250BED82F914}"/>
              </a:ext>
              <a:ext uri="{C183D7F6-B498-43B3-948B-1728B52AA6E4}">
                <adec:decorative xmlns:adec="http://schemas.microsoft.com/office/drawing/2017/decorative" val="1"/>
              </a:ext>
            </a:extLst>
          </p:cNvPr>
          <p:cNvSpPr/>
          <p:nvPr/>
        </p:nvSpPr>
        <p:spPr bwMode="auto">
          <a:xfrm>
            <a:off x="664223" y="2529002"/>
            <a:ext cx="793037"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37%</a:t>
            </a:r>
          </a:p>
        </p:txBody>
      </p:sp>
      <p:sp>
        <p:nvSpPr>
          <p:cNvPr id="22" name="Rectangle 21">
            <a:extLst>
              <a:ext uri="{FF2B5EF4-FFF2-40B4-BE49-F238E27FC236}">
                <a16:creationId xmlns:a16="http://schemas.microsoft.com/office/drawing/2014/main" id="{FE18F907-A68F-A540-977B-7A99569AFD6B}"/>
              </a:ext>
              <a:ext uri="{C183D7F6-B498-43B3-948B-1728B52AA6E4}">
                <adec:decorative xmlns:adec="http://schemas.microsoft.com/office/drawing/2017/decorative" val="1"/>
              </a:ext>
            </a:extLst>
          </p:cNvPr>
          <p:cNvSpPr/>
          <p:nvPr/>
        </p:nvSpPr>
        <p:spPr bwMode="auto">
          <a:xfrm>
            <a:off x="436541" y="3627364"/>
            <a:ext cx="1625223"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9%</a:t>
            </a:r>
          </a:p>
        </p:txBody>
      </p:sp>
      <p:sp>
        <p:nvSpPr>
          <p:cNvPr id="17" name="Rectangle 16">
            <a:extLst>
              <a:ext uri="{FF2B5EF4-FFF2-40B4-BE49-F238E27FC236}">
                <a16:creationId xmlns:a16="http://schemas.microsoft.com/office/drawing/2014/main" id="{E6848E72-A947-9147-B18B-28DA49762F9A}"/>
              </a:ext>
            </a:extLst>
          </p:cNvPr>
          <p:cNvSpPr/>
          <p:nvPr/>
        </p:nvSpPr>
        <p:spPr>
          <a:xfrm>
            <a:off x="168100" y="4925362"/>
            <a:ext cx="7722930" cy="173766"/>
          </a:xfrm>
          <a:prstGeom prst="rect">
            <a:avLst/>
          </a:prstGeom>
        </p:spPr>
        <p:txBody>
          <a:bodyPr wrap="square">
            <a:spAutoFit/>
          </a:bodyPr>
          <a:lstStyle/>
          <a:p>
            <a:pPr defTabSz="685775">
              <a:lnSpc>
                <a:spcPct val="90000"/>
              </a:lnSpc>
              <a:buSzPct val="90000"/>
              <a:defRPr/>
            </a:pPr>
            <a:r>
              <a:rPr lang="en-GB" sz="588" dirty="0">
                <a:solidFill>
                  <a:srgbClr val="FFFFFF"/>
                </a:solidFill>
                <a:latin typeface="Segoe UI Light" panose="020B0502040204020203" pitchFamily="34" charset="0"/>
                <a:cs typeface="Segoe UI Light" panose="020B0502040204020203" pitchFamily="34" charset="0"/>
              </a:rPr>
              <a:t>Forrester, Q1 Digital Process Automation Survey (for process improvement efforts 2 years from now); Dresner Advisory Services, The State of Business Intelligence, 2018 (critical responses only)​</a:t>
            </a:r>
            <a:endParaRPr lang="en-US" sz="588" dirty="0">
              <a:solidFill>
                <a:srgbClr val="282828"/>
              </a:solidFill>
              <a:latin typeface="Segoe UI"/>
            </a:endParaRPr>
          </a:p>
        </p:txBody>
      </p:sp>
    </p:spTree>
    <p:extLst>
      <p:ext uri="{BB962C8B-B14F-4D97-AF65-F5344CB8AC3E}">
        <p14:creationId xmlns:p14="http://schemas.microsoft.com/office/powerpoint/2010/main" val="354331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800" fill="hold"/>
                                        <p:tgtEl>
                                          <p:spTgt spid="33"/>
                                        </p:tgtEl>
                                        <p:attrNameLst>
                                          <p:attrName>ppt_x</p:attrName>
                                        </p:attrNameLst>
                                      </p:cBhvr>
                                      <p:tavLst>
                                        <p:tav tm="0">
                                          <p:val>
                                            <p:strVal val="#ppt_x-#ppt_w/2"/>
                                          </p:val>
                                        </p:tav>
                                        <p:tav tm="100000">
                                          <p:val>
                                            <p:strVal val="#ppt_x"/>
                                          </p:val>
                                        </p:tav>
                                      </p:tavLst>
                                    </p:anim>
                                    <p:anim calcmode="lin" valueType="num">
                                      <p:cBhvr>
                                        <p:cTn id="8" dur="800" fill="hold"/>
                                        <p:tgtEl>
                                          <p:spTgt spid="33"/>
                                        </p:tgtEl>
                                        <p:attrNameLst>
                                          <p:attrName>ppt_y</p:attrName>
                                        </p:attrNameLst>
                                      </p:cBhvr>
                                      <p:tavLst>
                                        <p:tav tm="0">
                                          <p:val>
                                            <p:strVal val="#ppt_y"/>
                                          </p:val>
                                        </p:tav>
                                        <p:tav tm="100000">
                                          <p:val>
                                            <p:strVal val="#ppt_y"/>
                                          </p:val>
                                        </p:tav>
                                      </p:tavLst>
                                    </p:anim>
                                    <p:anim calcmode="lin" valueType="num">
                                      <p:cBhvr>
                                        <p:cTn id="9" dur="800" fill="hold"/>
                                        <p:tgtEl>
                                          <p:spTgt spid="33"/>
                                        </p:tgtEl>
                                        <p:attrNameLst>
                                          <p:attrName>ppt_w</p:attrName>
                                        </p:attrNameLst>
                                      </p:cBhvr>
                                      <p:tavLst>
                                        <p:tav tm="0">
                                          <p:val>
                                            <p:fltVal val="0"/>
                                          </p:val>
                                        </p:tav>
                                        <p:tav tm="100000">
                                          <p:val>
                                            <p:strVal val="#ppt_w"/>
                                          </p:val>
                                        </p:tav>
                                      </p:tavLst>
                                    </p:anim>
                                    <p:anim calcmode="lin" valueType="num">
                                      <p:cBhvr>
                                        <p:cTn id="10" dur="800" fill="hold"/>
                                        <p:tgtEl>
                                          <p:spTgt spid="33"/>
                                        </p:tgtEl>
                                        <p:attrNameLst>
                                          <p:attrName>ppt_h</p:attrName>
                                        </p:attrNameLst>
                                      </p:cBhvr>
                                      <p:tavLst>
                                        <p:tav tm="0">
                                          <p:val>
                                            <p:strVal val="#ppt_h"/>
                                          </p:val>
                                        </p:tav>
                                        <p:tav tm="100000">
                                          <p:val>
                                            <p:strVal val="#ppt_h"/>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7" presetClass="entr" presetSubtype="8" fill="hold" grpId="0" nodeType="withEffect">
                                  <p:stCondLst>
                                    <p:cond delay="1000"/>
                                  </p:stCondLst>
                                  <p:childTnLst>
                                    <p:set>
                                      <p:cBhvr>
                                        <p:cTn id="15" dur="1" fill="hold">
                                          <p:stCondLst>
                                            <p:cond delay="0"/>
                                          </p:stCondLst>
                                        </p:cTn>
                                        <p:tgtEl>
                                          <p:spTgt spid="36"/>
                                        </p:tgtEl>
                                        <p:attrNameLst>
                                          <p:attrName>style.visibility</p:attrName>
                                        </p:attrNameLst>
                                      </p:cBhvr>
                                      <p:to>
                                        <p:strVal val="visible"/>
                                      </p:to>
                                    </p:set>
                                    <p:anim calcmode="lin" valueType="num">
                                      <p:cBhvr>
                                        <p:cTn id="16" dur="700" fill="hold"/>
                                        <p:tgtEl>
                                          <p:spTgt spid="36"/>
                                        </p:tgtEl>
                                        <p:attrNameLst>
                                          <p:attrName>ppt_x</p:attrName>
                                        </p:attrNameLst>
                                      </p:cBhvr>
                                      <p:tavLst>
                                        <p:tav tm="0">
                                          <p:val>
                                            <p:strVal val="#ppt_x-#ppt_w/2"/>
                                          </p:val>
                                        </p:tav>
                                        <p:tav tm="100000">
                                          <p:val>
                                            <p:strVal val="#ppt_x"/>
                                          </p:val>
                                        </p:tav>
                                      </p:tavLst>
                                    </p:anim>
                                    <p:anim calcmode="lin" valueType="num">
                                      <p:cBhvr>
                                        <p:cTn id="17" dur="700" fill="hold"/>
                                        <p:tgtEl>
                                          <p:spTgt spid="36"/>
                                        </p:tgtEl>
                                        <p:attrNameLst>
                                          <p:attrName>ppt_y</p:attrName>
                                        </p:attrNameLst>
                                      </p:cBhvr>
                                      <p:tavLst>
                                        <p:tav tm="0">
                                          <p:val>
                                            <p:strVal val="#ppt_y"/>
                                          </p:val>
                                        </p:tav>
                                        <p:tav tm="100000">
                                          <p:val>
                                            <p:strVal val="#ppt_y"/>
                                          </p:val>
                                        </p:tav>
                                      </p:tavLst>
                                    </p:anim>
                                    <p:anim calcmode="lin" valueType="num">
                                      <p:cBhvr>
                                        <p:cTn id="18" dur="700" fill="hold"/>
                                        <p:tgtEl>
                                          <p:spTgt spid="36"/>
                                        </p:tgtEl>
                                        <p:attrNameLst>
                                          <p:attrName>ppt_w</p:attrName>
                                        </p:attrNameLst>
                                      </p:cBhvr>
                                      <p:tavLst>
                                        <p:tav tm="0">
                                          <p:val>
                                            <p:fltVal val="0"/>
                                          </p:val>
                                        </p:tav>
                                        <p:tav tm="100000">
                                          <p:val>
                                            <p:strVal val="#ppt_w"/>
                                          </p:val>
                                        </p:tav>
                                      </p:tavLst>
                                    </p:anim>
                                    <p:anim calcmode="lin" valueType="num">
                                      <p:cBhvr>
                                        <p:cTn id="19" dur="700" fill="hold"/>
                                        <p:tgtEl>
                                          <p:spTgt spid="36"/>
                                        </p:tgtEl>
                                        <p:attrNameLst>
                                          <p:attrName>ppt_h</p:attrName>
                                        </p:attrNameLst>
                                      </p:cBhvr>
                                      <p:tavLst>
                                        <p:tav tm="0">
                                          <p:val>
                                            <p:strVal val="#ppt_h"/>
                                          </p:val>
                                        </p:tav>
                                        <p:tav tm="100000">
                                          <p:val>
                                            <p:strVal val="#ppt_h"/>
                                          </p:val>
                                        </p:tav>
                                      </p:tavLst>
                                    </p:anim>
                                  </p:childTnLst>
                                </p:cTn>
                              </p:par>
                              <p:par>
                                <p:cTn id="20" presetID="10" presetClass="entr" presetSubtype="0" fill="hold" grpId="0" nodeType="withEffect">
                                  <p:stCondLst>
                                    <p:cond delay="1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childTnLst>
                                </p:cTn>
                              </p:par>
                              <p:par>
                                <p:cTn id="23" presetID="17" presetClass="entr" presetSubtype="8" fill="hold" grpId="0" nodeType="withEffect">
                                  <p:stCondLst>
                                    <p:cond delay="2000"/>
                                  </p:stCondLst>
                                  <p:childTnLst>
                                    <p:set>
                                      <p:cBhvr>
                                        <p:cTn id="24" dur="1" fill="hold">
                                          <p:stCondLst>
                                            <p:cond delay="0"/>
                                          </p:stCondLst>
                                        </p:cTn>
                                        <p:tgtEl>
                                          <p:spTgt spid="38"/>
                                        </p:tgtEl>
                                        <p:attrNameLst>
                                          <p:attrName>style.visibility</p:attrName>
                                        </p:attrNameLst>
                                      </p:cBhvr>
                                      <p:to>
                                        <p:strVal val="visible"/>
                                      </p:to>
                                    </p:set>
                                    <p:anim calcmode="lin" valueType="num">
                                      <p:cBhvr>
                                        <p:cTn id="25" dur="800" fill="hold"/>
                                        <p:tgtEl>
                                          <p:spTgt spid="38"/>
                                        </p:tgtEl>
                                        <p:attrNameLst>
                                          <p:attrName>ppt_x</p:attrName>
                                        </p:attrNameLst>
                                      </p:cBhvr>
                                      <p:tavLst>
                                        <p:tav tm="0">
                                          <p:val>
                                            <p:strVal val="#ppt_x-#ppt_w/2"/>
                                          </p:val>
                                        </p:tav>
                                        <p:tav tm="100000">
                                          <p:val>
                                            <p:strVal val="#ppt_x"/>
                                          </p:val>
                                        </p:tav>
                                      </p:tavLst>
                                    </p:anim>
                                    <p:anim calcmode="lin" valueType="num">
                                      <p:cBhvr>
                                        <p:cTn id="26" dur="800" fill="hold"/>
                                        <p:tgtEl>
                                          <p:spTgt spid="38"/>
                                        </p:tgtEl>
                                        <p:attrNameLst>
                                          <p:attrName>ppt_y</p:attrName>
                                        </p:attrNameLst>
                                      </p:cBhvr>
                                      <p:tavLst>
                                        <p:tav tm="0">
                                          <p:val>
                                            <p:strVal val="#ppt_y"/>
                                          </p:val>
                                        </p:tav>
                                        <p:tav tm="100000">
                                          <p:val>
                                            <p:strVal val="#ppt_y"/>
                                          </p:val>
                                        </p:tav>
                                      </p:tavLst>
                                    </p:anim>
                                    <p:anim calcmode="lin" valueType="num">
                                      <p:cBhvr>
                                        <p:cTn id="27" dur="800" fill="hold"/>
                                        <p:tgtEl>
                                          <p:spTgt spid="38"/>
                                        </p:tgtEl>
                                        <p:attrNameLst>
                                          <p:attrName>ppt_w</p:attrName>
                                        </p:attrNameLst>
                                      </p:cBhvr>
                                      <p:tavLst>
                                        <p:tav tm="0">
                                          <p:val>
                                            <p:fltVal val="0"/>
                                          </p:val>
                                        </p:tav>
                                        <p:tav tm="100000">
                                          <p:val>
                                            <p:strVal val="#ppt_w"/>
                                          </p:val>
                                        </p:tav>
                                      </p:tavLst>
                                    </p:anim>
                                    <p:anim calcmode="lin" valueType="num">
                                      <p:cBhvr>
                                        <p:cTn id="28" dur="800" fill="hold"/>
                                        <p:tgtEl>
                                          <p:spTgt spid="38"/>
                                        </p:tgtEl>
                                        <p:attrNameLst>
                                          <p:attrName>ppt_h</p:attrName>
                                        </p:attrNameLst>
                                      </p:cBhvr>
                                      <p:tavLst>
                                        <p:tav tm="0">
                                          <p:val>
                                            <p:strVal val="#ppt_h"/>
                                          </p:val>
                                        </p:tav>
                                        <p:tav tm="100000">
                                          <p:val>
                                            <p:strVal val="#ppt_h"/>
                                          </p:val>
                                        </p:tav>
                                      </p:tavLst>
                                    </p:anim>
                                  </p:childTnLst>
                                </p:cTn>
                              </p:par>
                              <p:par>
                                <p:cTn id="29" presetID="10" presetClass="entr" presetSubtype="0" fill="hold" grpId="0" nodeType="withEffect">
                                  <p:stCondLst>
                                    <p:cond delay="23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6" grpId="0" animBg="1"/>
      <p:bldP spid="38" grpId="0" animBg="1"/>
      <p:bldP spid="16" grpId="0"/>
      <p:bldP spid="20" grpId="0"/>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r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3318541" cy="238613"/>
            </a:xfrm>
            <a:prstGeom prst="rect">
              <a:avLst/>
            </a:prstGeom>
            <a:noFill/>
          </p:spPr>
          <p:txBody>
            <a:bodyPr wrap="square" lIns="0" tIns="0" rIns="0" bIns="0" rtlCol="0" anchor="t">
              <a:spAutoFit/>
            </a:bodyPr>
            <a:lstStyle/>
            <a:p>
              <a:pPr defTabSz="896364">
                <a:defRPr/>
              </a:pPr>
              <a:r>
                <a:rPr lang="en-US" sz="1163" b="1">
                  <a:solidFill>
                    <a:srgbClr val="3C3C41"/>
                  </a:solidFill>
                  <a:latin typeface="Segoe UI"/>
                </a:rPr>
                <a:t>Environment access &amp; strategy</a:t>
              </a:r>
              <a:endParaRPr lang="en-US" sz="1176" b="1">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63536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7">
            <a:extLst>
              <a:ext uri="{FF2B5EF4-FFF2-40B4-BE49-F238E27FC236}">
                <a16:creationId xmlns:a16="http://schemas.microsoft.com/office/drawing/2014/main" id="{83978CC7-7E28-4580-BC20-014CB7A6345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50143" y="1457640"/>
            <a:ext cx="2712832" cy="175937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en-US" sz="2100" spc="-110" dirty="0"/>
              <a:t>Manage your environments in the Power Platform admin center</a:t>
            </a:r>
            <a:endParaRPr lang="en-US" dirty="0"/>
          </a:p>
        </p:txBody>
      </p:sp>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15837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029" dirty="0">
                <a:latin typeface="Segoe UI Light" panose="020B0502040204020203" pitchFamily="34" charset="0"/>
                <a:cs typeface="Segoe UI Light" panose="020B0502040204020203" pitchFamily="34" charset="0"/>
              </a:rPr>
              <a:t>Each app/flow runs in an environment.</a:t>
            </a:r>
          </a:p>
        </p:txBody>
      </p:sp>
      <p:pic>
        <p:nvPicPr>
          <p:cNvPr id="5" name="Picture 4" descr="Power Platform Admin Center, Environments - Screenshot">
            <a:extLst>
              <a:ext uri="{FF2B5EF4-FFF2-40B4-BE49-F238E27FC236}">
                <a16:creationId xmlns:a16="http://schemas.microsoft.com/office/drawing/2014/main" id="{1CA1485E-F645-4E66-A1F0-293A348350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74681" y="1948869"/>
            <a:ext cx="2570277" cy="1601212"/>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1"/>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Centrally manage production, sandbox and trial environments from the admin center.</a:t>
            </a:r>
          </a:p>
        </p:txBody>
      </p:sp>
      <p:pic>
        <p:nvPicPr>
          <p:cNvPr id="6" name="Picture 5" descr="Power Platform Admin Center - Screenshot">
            <a:extLst>
              <a:ext uri="{FF2B5EF4-FFF2-40B4-BE49-F238E27FC236}">
                <a16:creationId xmlns:a16="http://schemas.microsoft.com/office/drawing/2014/main" id="{409D6514-5297-43DF-A3CC-664857765E6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73409" y="1544306"/>
            <a:ext cx="2479584" cy="1605228"/>
          </a:xfrm>
          <a:prstGeom prst="rect">
            <a:avLst/>
          </a:prstGeom>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316753"/>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Secure and control your resources per environment.</a:t>
            </a:r>
          </a:p>
        </p:txBody>
      </p:sp>
      <p:pic>
        <p:nvPicPr>
          <p:cNvPr id="19" name="Picture 29">
            <a:extLst>
              <a:ext uri="{FF2B5EF4-FFF2-40B4-BE49-F238E27FC236}">
                <a16:creationId xmlns:a16="http://schemas.microsoft.com/office/drawing/2014/main" id="{04C41511-6CA1-46D7-8854-258C30CC5070}"/>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1007" y="1544306"/>
            <a:ext cx="2840306" cy="1763983"/>
          </a:xfrm>
          <a:prstGeom prst="rect">
            <a:avLst/>
          </a:prstGeom>
          <a:effectLst>
            <a:outerShdw blurRad="241300" dist="165100" dir="5400000" sx="96000" sy="96000" algn="t" rotWithShape="0">
              <a:prstClr val="black">
                <a:alpha val="46000"/>
              </a:prstClr>
            </a:outerShdw>
          </a:effectLst>
        </p:spPr>
      </p:pic>
      <p:pic>
        <p:nvPicPr>
          <p:cNvPr id="24" name="Picture 26">
            <a:extLst>
              <a:ext uri="{FF2B5EF4-FFF2-40B4-BE49-F238E27FC236}">
                <a16:creationId xmlns:a16="http://schemas.microsoft.com/office/drawing/2014/main" id="{F7CFE3E7-6F4C-47B3-8CC7-01103467A689}"/>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243263" y="1885853"/>
            <a:ext cx="2835573" cy="1727245"/>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2A53AAA5-4BC2-4332-8735-AE395227FA9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5668" y="1690640"/>
            <a:ext cx="2569014" cy="1458894"/>
          </a:xfrm>
          <a:prstGeom prst="rect">
            <a:avLst/>
          </a:prstGeom>
        </p:spPr>
      </p:pic>
    </p:spTree>
    <p:extLst>
      <p:ext uri="{BB962C8B-B14F-4D97-AF65-F5344CB8AC3E}">
        <p14:creationId xmlns:p14="http://schemas.microsoft.com/office/powerpoint/2010/main" val="85581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a:xfrm>
            <a:off x="491315" y="320948"/>
            <a:ext cx="8263890" cy="415499"/>
          </a:xfrm>
        </p:spPr>
        <p:txBody>
          <a:bodyPr/>
          <a:lstStyle/>
          <a:p>
            <a:r>
              <a:rPr lang="en-US">
                <a:solidFill>
                  <a:schemeClr val="bg1"/>
                </a:solidFill>
              </a:rPr>
              <a:t>Environment</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a:solidFill>
            <a:schemeClr val="bg1">
              <a:lumMod val="95000"/>
            </a:schemeClr>
          </a:solidFill>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CB869F3F-35EF-46E7-A1C0-E267C1A8A670}"/>
              </a:ext>
            </a:extLst>
          </p:cNvPr>
          <p:cNvSpPr txBox="1"/>
          <p:nvPr/>
        </p:nvSpPr>
        <p:spPr>
          <a:xfrm>
            <a:off x="491315" y="796004"/>
            <a:ext cx="4634454" cy="4063681"/>
          </a:xfrm>
          <a:prstGeom prst="rect">
            <a:avLst/>
          </a:prstGeom>
          <a:noFill/>
        </p:spPr>
        <p:txBody>
          <a:bodyPr wrap="square" lIns="134464" tIns="107571" rIns="134464" bIns="107571" rtlCol="0" anchor="t">
            <a:spAutoFit/>
          </a:bodyPr>
          <a:lstStyle/>
          <a:p>
            <a:pPr algn="just" defTabSz="685775">
              <a:lnSpc>
                <a:spcPct val="90000"/>
              </a:lnSpc>
              <a:spcAft>
                <a:spcPts val="441"/>
              </a:spcAft>
            </a:pPr>
            <a:r>
              <a:rPr lang="en-US" sz="1350" b="1" dirty="0">
                <a:solidFill>
                  <a:srgbClr val="FFFFFF"/>
                </a:solidFill>
                <a:latin typeface="Segoe UI"/>
              </a:rPr>
              <a:t>Definition:</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a:buChar char="•"/>
            </a:pPr>
            <a:r>
              <a:rPr lang="en-US" sz="1050" dirty="0">
                <a:solidFill>
                  <a:srgbClr val="FFFFFF"/>
                </a:solidFill>
                <a:latin typeface="Segoe UI"/>
                <a:cs typeface="Segoe UI"/>
              </a:rPr>
              <a:t>Container in which end users with maker permissions can create and share resources and data. A</a:t>
            </a:r>
            <a:r>
              <a:rPr lang="en-US" sz="1050" dirty="0">
                <a:solidFill>
                  <a:srgbClr val="FFFFFF"/>
                </a:solidFill>
                <a:latin typeface="Segoe UI"/>
              </a:rPr>
              <a:t>dmins can manage those resources and data, and administer users' permissions.</a:t>
            </a:r>
          </a:p>
          <a:p>
            <a:pPr algn="just" defTabSz="685775">
              <a:lnSpc>
                <a:spcPct val="90000"/>
              </a:lnSpc>
              <a:spcAft>
                <a:spcPts val="441"/>
              </a:spcAft>
            </a:pPr>
            <a:endParaRPr lang="en-US" sz="1350" b="1" dirty="0">
              <a:solidFill>
                <a:srgbClr val="FFFFFF"/>
              </a:solidFill>
              <a:latin typeface="Segoe UI"/>
            </a:endParaRPr>
          </a:p>
          <a:p>
            <a:pPr algn="just" defTabSz="685775">
              <a:lnSpc>
                <a:spcPct val="90000"/>
              </a:lnSpc>
              <a:spcAft>
                <a:spcPts val="441"/>
              </a:spcAft>
            </a:pPr>
            <a:r>
              <a:rPr lang="en-US" sz="1350" b="1" dirty="0">
                <a:solidFill>
                  <a:srgbClr val="FFFFFF"/>
                </a:solidFill>
                <a:latin typeface="Segoe UI"/>
              </a:rPr>
              <a:t>Key facts:</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An environment is tied to a geographic location.</a:t>
            </a:r>
            <a:endParaRPr lang="en-US" sz="1050" dirty="0">
              <a:solidFill>
                <a:srgbClr val="FFFFFF"/>
              </a:solidFill>
              <a:latin typeface="Segoe UI"/>
              <a:cs typeface="Segoe UI"/>
            </a:endParaRP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There are 7 types of environments.</a:t>
            </a: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Every tenant has a default environment.</a:t>
            </a:r>
          </a:p>
          <a:p>
            <a:pPr marL="214313" indent="-214313" algn="just" defTabSz="685775">
              <a:lnSpc>
                <a:spcPct val="90000"/>
              </a:lnSpc>
              <a:spcAft>
                <a:spcPts val="441"/>
              </a:spcAft>
              <a:buFont typeface="Arial" panose="020B0604020202020204" pitchFamily="34" charset="0"/>
              <a:buChar char="•"/>
            </a:pPr>
            <a:endParaRPr lang="en-US" sz="1350" dirty="0">
              <a:solidFill>
                <a:srgbClr val="FFFFFF"/>
              </a:solidFill>
              <a:latin typeface="Segoe UI"/>
            </a:endParaRPr>
          </a:p>
          <a:p>
            <a:pPr algn="just" defTabSz="685800">
              <a:lnSpc>
                <a:spcPct val="90000"/>
              </a:lnSpc>
              <a:spcAft>
                <a:spcPts val="450"/>
              </a:spcAft>
            </a:pPr>
            <a:r>
              <a:rPr lang="en-US" sz="1350" b="1" dirty="0">
                <a:solidFill>
                  <a:srgbClr val="FFFFFF"/>
                </a:solidFill>
                <a:latin typeface="Segoe UI"/>
              </a:rPr>
              <a:t>Security tips:</a:t>
            </a:r>
          </a:p>
          <a:p>
            <a:pPr algn="just" defTabSz="685800">
              <a:lnSpc>
                <a:spcPct val="90000"/>
              </a:lnSpc>
              <a:spcAft>
                <a:spcPts val="450"/>
              </a:spcAft>
            </a:pPr>
            <a:endParaRPr lang="en-US" sz="450" b="1" dirty="0">
              <a:solidFill>
                <a:srgbClr val="FFFFFF"/>
              </a:solidFill>
              <a:latin typeface="Segoe UI"/>
            </a:endParaRPr>
          </a:p>
          <a:p>
            <a:pPr marL="214313" indent="-214313" algn="just"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s offer more permission control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 creation can be restricted to specific admin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cs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cs typeface="Segoe UI"/>
              </a:rPr>
              <a:t>Non-default and non-developer environments with CDS can be restrict access to a specific AAD security group.</a:t>
            </a:r>
          </a:p>
        </p:txBody>
      </p:sp>
      <p:pic>
        <p:nvPicPr>
          <p:cNvPr id="12" name="Picture 2" descr="Environment list">
            <a:extLst>
              <a:ext uri="{FF2B5EF4-FFF2-40B4-BE49-F238E27FC236}">
                <a16:creationId xmlns:a16="http://schemas.microsoft.com/office/drawing/2014/main" id="{99E2955E-B1FE-4D2D-8419-364F655E33D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r="19197" b="15789"/>
          <a:stretch/>
        </p:blipFill>
        <p:spPr bwMode="auto">
          <a:xfrm>
            <a:off x="6071128" y="3525046"/>
            <a:ext cx="2821021" cy="1197249"/>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Specify Global admins">
            <a:extLst>
              <a:ext uri="{FF2B5EF4-FFF2-40B4-BE49-F238E27FC236}">
                <a16:creationId xmlns:a16="http://schemas.microsoft.com/office/drawing/2014/main" id="{9E1FB3C5-9B83-443B-8811-593157F4CC0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70441" y="964007"/>
            <a:ext cx="1422394" cy="21084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B450282-7B54-46A4-98C8-77C9A3323B54}"/>
              </a:ext>
            </a:extLst>
          </p:cNvPr>
          <p:cNvSpPr txBox="1"/>
          <p:nvPr/>
        </p:nvSpPr>
        <p:spPr>
          <a:xfrm>
            <a:off x="5558470" y="4725033"/>
            <a:ext cx="3846335" cy="335861"/>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List of environments in the admin center.</a:t>
            </a:r>
          </a:p>
        </p:txBody>
      </p:sp>
      <p:sp>
        <p:nvSpPr>
          <p:cNvPr id="15" name="TextBox 14">
            <a:extLst>
              <a:ext uri="{FF2B5EF4-FFF2-40B4-BE49-F238E27FC236}">
                <a16:creationId xmlns:a16="http://schemas.microsoft.com/office/drawing/2014/main" id="{7EC2D383-1FDC-40A4-B546-14246E1774C5}"/>
              </a:ext>
            </a:extLst>
          </p:cNvPr>
          <p:cNvSpPr txBox="1"/>
          <p:nvPr/>
        </p:nvSpPr>
        <p:spPr>
          <a:xfrm>
            <a:off x="5775402" y="3073866"/>
            <a:ext cx="3420488" cy="335861"/>
          </a:xfrm>
          <a:prstGeom prst="rect">
            <a:avLst/>
          </a:prstGeom>
          <a:noFill/>
        </p:spPr>
        <p:txBody>
          <a:bodyPr wrap="none" lIns="137160" tIns="109728" rIns="137160" bIns="109728" rtlCol="0">
            <a:spAutoFit/>
          </a:bodyPr>
          <a:lstStyle/>
          <a:p>
            <a:pPr defTabSz="685800">
              <a:lnSpc>
                <a:spcPct val="90000"/>
              </a:lnSpc>
              <a:spcAft>
                <a:spcPts val="450"/>
              </a:spcAft>
            </a:pPr>
            <a:r>
              <a:rPr lang="en-US" sz="825" b="1">
                <a:gradFill>
                  <a:gsLst>
                    <a:gs pos="2917">
                      <a:srgbClr val="000000"/>
                    </a:gs>
                    <a:gs pos="30000">
                      <a:srgbClr val="000000"/>
                    </a:gs>
                  </a:gsLst>
                  <a:lin ang="5400000" scaled="0"/>
                </a:gradFill>
                <a:latin typeface="Segoe UI"/>
              </a:rPr>
              <a:t>Figure _: Controlling environment creation in the admin center.</a:t>
            </a:r>
          </a:p>
        </p:txBody>
      </p:sp>
      <p:sp>
        <p:nvSpPr>
          <p:cNvPr id="4" name="TextBox 3">
            <a:extLst>
              <a:ext uri="{FF2B5EF4-FFF2-40B4-BE49-F238E27FC236}">
                <a16:creationId xmlns:a16="http://schemas.microsoft.com/office/drawing/2014/main" id="{11F2FFA8-821E-4481-A0DF-C7FC1451C7A7}"/>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defTabSz="685800"/>
            <a:r>
              <a:rPr lang="en-US" sz="900">
                <a:gradFill>
                  <a:gsLst>
                    <a:gs pos="2917">
                      <a:srgbClr val="000000">
                        <a:alpha val="25000"/>
                      </a:srgbClr>
                    </a:gs>
                    <a:gs pos="30000">
                      <a:srgbClr val="000000">
                        <a:alpha val="25000"/>
                      </a:srgbClr>
                    </a:gs>
                  </a:gsLst>
                  <a:lin ang="5400000" scaled="0"/>
                </a:gradFill>
                <a:latin typeface="Segoe UI Semibold"/>
              </a:rPr>
              <a:t>MICROSOFT CONFIDENTIAL</a:t>
            </a:r>
          </a:p>
        </p:txBody>
      </p:sp>
    </p:spTree>
    <p:extLst>
      <p:ext uri="{BB962C8B-B14F-4D97-AF65-F5344CB8AC3E}">
        <p14:creationId xmlns:p14="http://schemas.microsoft.com/office/powerpoint/2010/main" val="4234859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41356D6-B4CD-4DDA-9FE6-440DFF317AB5}"/>
              </a:ext>
            </a:extLst>
          </p:cNvPr>
          <p:cNvGrpSpPr/>
          <p:nvPr/>
        </p:nvGrpSpPr>
        <p:grpSpPr>
          <a:xfrm>
            <a:off x="1" y="365"/>
            <a:ext cx="6601796" cy="1025132"/>
            <a:chOff x="0" y="0"/>
            <a:chExt cx="8978900" cy="1394250"/>
          </a:xfrm>
          <a:solidFill>
            <a:schemeClr val="accent6"/>
          </a:solidFill>
        </p:grpSpPr>
        <p:sp>
          <p:nvSpPr>
            <p:cNvPr id="17" name="Freeform: Shape 16">
              <a:extLst>
                <a:ext uri="{FF2B5EF4-FFF2-40B4-BE49-F238E27FC236}">
                  <a16:creationId xmlns:a16="http://schemas.microsoft.com/office/drawing/2014/main" id="{4AB03C95-CCEA-4189-88D0-F43CC669567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C158B356-E516-41AF-AE67-5CBEE6072EB3}"/>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02B6F4B6-589F-46BB-B8DF-7049F3889B89}"/>
              </a:ext>
            </a:extLst>
          </p:cNvPr>
          <p:cNvSpPr>
            <a:spLocks noGrp="1"/>
          </p:cNvSpPr>
          <p:nvPr>
            <p:ph type="title"/>
          </p:nvPr>
        </p:nvSpPr>
        <p:spPr>
          <a:xfrm>
            <a:off x="440054" y="306374"/>
            <a:ext cx="8263890" cy="600164"/>
          </a:xfrm>
        </p:spPr>
        <p:txBody>
          <a:bodyPr/>
          <a:lstStyle/>
          <a:p>
            <a:r>
              <a:rPr lang="en-US">
                <a:solidFill>
                  <a:schemeClr val="bg1"/>
                </a:solidFill>
              </a:rPr>
              <a:t>Types of Environments</a:t>
            </a:r>
            <a:br>
              <a:rPr lang="en-US">
                <a:solidFill>
                  <a:schemeClr val="bg1"/>
                </a:solidFill>
              </a:rPr>
            </a:br>
            <a:r>
              <a:rPr lang="en-US" sz="1200">
                <a:solidFill>
                  <a:schemeClr val="bg1"/>
                </a:solidFill>
              </a:rPr>
              <a:t>(Learn more </a:t>
            </a:r>
            <a:r>
              <a:rPr lang="en-US" sz="1200">
                <a:solidFill>
                  <a:schemeClr val="bg1"/>
                </a:solidFill>
                <a:hlinkClick r:id="rId3"/>
              </a:rPr>
              <a:t>here</a:t>
            </a:r>
            <a:r>
              <a:rPr lang="en-US" sz="1200">
                <a:solidFill>
                  <a:schemeClr val="bg1"/>
                </a:solidFill>
              </a:rPr>
              <a:t>)</a:t>
            </a:r>
            <a:endParaRPr lang="en-US">
              <a:solidFill>
                <a:schemeClr val="bg1"/>
              </a:solidFill>
            </a:endParaRPr>
          </a:p>
        </p:txBody>
      </p:sp>
      <p:graphicFrame>
        <p:nvGraphicFramePr>
          <p:cNvPr id="6" name="Table 5">
            <a:extLst>
              <a:ext uri="{FF2B5EF4-FFF2-40B4-BE49-F238E27FC236}">
                <a16:creationId xmlns:a16="http://schemas.microsoft.com/office/drawing/2014/main" id="{A71CAEC4-1C73-450F-8B9D-DA977901DC2E}"/>
              </a:ext>
            </a:extLst>
          </p:cNvPr>
          <p:cNvGraphicFramePr>
            <a:graphicFrameLocks noGrp="1"/>
          </p:cNvGraphicFramePr>
          <p:nvPr>
            <p:extLst>
              <p:ext uri="{D42A27DB-BD31-4B8C-83A1-F6EECF244321}">
                <p14:modId xmlns:p14="http://schemas.microsoft.com/office/powerpoint/2010/main" val="2960519839"/>
              </p:ext>
            </p:extLst>
          </p:nvPr>
        </p:nvGraphicFramePr>
        <p:xfrm>
          <a:off x="146987" y="1235219"/>
          <a:ext cx="8850026" cy="3474720"/>
        </p:xfrm>
        <a:graphic>
          <a:graphicData uri="http://schemas.openxmlformats.org/drawingml/2006/table">
            <a:tbl>
              <a:tblPr firstRow="1" bandRow="1">
                <a:tableStyleId>{21E4AEA4-8DFA-4A89-87EB-49C32662AFE0}</a:tableStyleId>
              </a:tblPr>
              <a:tblGrid>
                <a:gridCol w="1188263">
                  <a:extLst>
                    <a:ext uri="{9D8B030D-6E8A-4147-A177-3AD203B41FA5}">
                      <a16:colId xmlns:a16="http://schemas.microsoft.com/office/drawing/2014/main" val="1511346437"/>
                    </a:ext>
                  </a:extLst>
                </a:gridCol>
                <a:gridCol w="2140088">
                  <a:extLst>
                    <a:ext uri="{9D8B030D-6E8A-4147-A177-3AD203B41FA5}">
                      <a16:colId xmlns:a16="http://schemas.microsoft.com/office/drawing/2014/main" val="997132456"/>
                    </a:ext>
                  </a:extLst>
                </a:gridCol>
                <a:gridCol w="1201135">
                  <a:extLst>
                    <a:ext uri="{9D8B030D-6E8A-4147-A177-3AD203B41FA5}">
                      <a16:colId xmlns:a16="http://schemas.microsoft.com/office/drawing/2014/main" val="298821657"/>
                    </a:ext>
                  </a:extLst>
                </a:gridCol>
                <a:gridCol w="4320540">
                  <a:extLst>
                    <a:ext uri="{9D8B030D-6E8A-4147-A177-3AD203B41FA5}">
                      <a16:colId xmlns:a16="http://schemas.microsoft.com/office/drawing/2014/main" val="4013040"/>
                    </a:ext>
                  </a:extLst>
                </a:gridCol>
              </a:tblGrid>
              <a:tr h="228600">
                <a:tc>
                  <a:txBody>
                    <a:bodyPr/>
                    <a:lstStyle/>
                    <a:p>
                      <a:pPr algn="ctr"/>
                      <a:r>
                        <a:rPr lang="en-US" sz="900" b="1" dirty="0"/>
                        <a:t>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Crea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Dataverse Inst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667325565"/>
                  </a:ext>
                </a:extLst>
              </a:tr>
              <a:tr h="502920">
                <a:tc>
                  <a:txBody>
                    <a:bodyPr/>
                    <a:lstStyle/>
                    <a:p>
                      <a:r>
                        <a:rPr lang="en-US" sz="900">
                          <a:latin typeface="+mn-lt"/>
                        </a:rPr>
                        <a:t>1 – Defa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Mandatory</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900" dirty="0">
                          <a:latin typeface="+mn-lt"/>
                        </a:rPr>
                        <a:t>A single default environment is automatically created for each tenant and shared by all users (who are Environment Makers). It is used for integrations with in-built O365 services and serves as shared environment for smaller use ca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0067414"/>
                  </a:ext>
                </a:extLst>
              </a:tr>
              <a:tr h="502920">
                <a:tc>
                  <a:txBody>
                    <a:bodyPr/>
                    <a:lstStyle/>
                    <a:p>
                      <a:r>
                        <a:rPr lang="en-US" sz="900">
                          <a:latin typeface="+mn-lt"/>
                        </a:rPr>
                        <a:t>2 –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dirty="0">
                          <a:ln>
                            <a:noFill/>
                          </a:ln>
                          <a:solidFill>
                            <a:srgbClr val="000000"/>
                          </a:solidFill>
                          <a:effectLst/>
                          <a:uLnTx/>
                          <a:uFillTx/>
                          <a:latin typeface="+mn-lt"/>
                          <a:ea typeface="+mn-ea"/>
                          <a:cs typeface="+mn-cs"/>
                        </a:rPr>
                        <a:t>Optional</a:t>
                      </a:r>
                      <a:endParaRPr lang="en-US" sz="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This is intended to be used for permanent work in an organization. Production environments are what you should use for any environments on which you depend.</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61188"/>
                  </a:ext>
                </a:extLst>
              </a:tr>
              <a:tr h="365760">
                <a:tc>
                  <a:txBody>
                    <a:bodyPr/>
                    <a:lstStyle/>
                    <a:p>
                      <a:r>
                        <a:rPr lang="en-US" sz="900">
                          <a:latin typeface="+mn-lt"/>
                        </a:rPr>
                        <a:t>3 – Sandbo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Optional</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Sandbox environments are used for development and testing, separate from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3024869"/>
                  </a:ext>
                </a:extLst>
              </a:tr>
              <a:tr h="365760">
                <a:tc>
                  <a:txBody>
                    <a:bodyPr/>
                    <a:lstStyle/>
                    <a:p>
                      <a:r>
                        <a:rPr lang="en-US" sz="900">
                          <a:latin typeface="+mn-lt"/>
                        </a:rPr>
                        <a:t>4 – Tr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a:latin typeface="+mn-lt"/>
                        </a:rPr>
                        <a:t>Trial environments are intended to support short-term testing needs and are automatically cleaned up after a short period of time. They expire after 30 day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643730"/>
                  </a:ext>
                </a:extLst>
              </a:tr>
              <a:tr h="502920">
                <a:tc>
                  <a:txBody>
                    <a:bodyPr/>
                    <a:lstStyle/>
                    <a:p>
                      <a:r>
                        <a:rPr lang="en-US" sz="900">
                          <a:latin typeface="+mn-lt"/>
                        </a:rPr>
                        <a:t>5 – Develop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Licensed user</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Developer environments are created by users who have the Community Plan license. They're special environments intended only for use by the owner, and they can't be shared with other users.</a:t>
                      </a:r>
                      <a:endParaRPr lang="en-US" sz="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289182"/>
                  </a:ext>
                </a:extLst>
              </a:tr>
              <a:tr h="502920">
                <a:tc>
                  <a:txBody>
                    <a:bodyPr/>
                    <a:lstStyle/>
                    <a:p>
                      <a:r>
                        <a:rPr lang="en-US" sz="900" dirty="0">
                          <a:latin typeface="+mn-lt"/>
                        </a:rPr>
                        <a:t>6 – Dataverse for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anda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a:latin typeface="+mn-lt"/>
                        </a:rPr>
                        <a:t>Dataverse for Teams environments are automatically created for a Team in Teams when you create an app in Teams using the Power Apps app for the first time or install a Power Apps app from the app catalo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7795658"/>
                  </a:ext>
                </a:extLst>
              </a:tr>
              <a:tr h="502920">
                <a:tc>
                  <a:txBody>
                    <a:bodyPr/>
                    <a:lstStyle/>
                    <a:p>
                      <a:r>
                        <a:rPr lang="en-US" sz="900">
                          <a:latin typeface="+mn-lt"/>
                        </a:rPr>
                        <a:t>7 – Sup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icrosoft support engin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kern="1200" dirty="0">
                          <a:solidFill>
                            <a:schemeClr val="dk1"/>
                          </a:solidFill>
                          <a:effectLst/>
                          <a:latin typeface="+mn-lt"/>
                          <a:ea typeface="+mn-ea"/>
                          <a:cs typeface="+mn-cs"/>
                        </a:rPr>
                        <a:t>It is an environment created in your tenant by Microsoft under your direct instructions, for purposes of preventing, detecting, or repairing problems affecting the operation of your online serv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24797"/>
                  </a:ext>
                </a:extLst>
              </a:tr>
            </a:tbl>
          </a:graphicData>
        </a:graphic>
      </p:graphicFrame>
      <p:sp>
        <p:nvSpPr>
          <p:cNvPr id="20" name="Hexagon 19">
            <a:extLst>
              <a:ext uri="{FF2B5EF4-FFF2-40B4-BE49-F238E27FC236}">
                <a16:creationId xmlns:a16="http://schemas.microsoft.com/office/drawing/2014/main" id="{40CA2EA5-25FD-4754-B313-C26DDD9AA201}"/>
              </a:ext>
            </a:extLst>
          </p:cNvPr>
          <p:cNvSpPr/>
          <p:nvPr/>
        </p:nvSpPr>
        <p:spPr bwMode="auto">
          <a:xfrm>
            <a:off x="8685594" y="253821"/>
            <a:ext cx="921627" cy="811825"/>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24" name="Group 23">
            <a:extLst>
              <a:ext uri="{FF2B5EF4-FFF2-40B4-BE49-F238E27FC236}">
                <a16:creationId xmlns:a16="http://schemas.microsoft.com/office/drawing/2014/main" id="{0DFFA193-34C6-40FE-AEA2-493C807E06EB}"/>
              </a:ext>
            </a:extLst>
          </p:cNvPr>
          <p:cNvGrpSpPr/>
          <p:nvPr/>
        </p:nvGrpSpPr>
        <p:grpSpPr>
          <a:xfrm>
            <a:off x="7939872" y="-310978"/>
            <a:ext cx="1667349" cy="1376624"/>
            <a:chOff x="10308253" y="-1239842"/>
            <a:chExt cx="2954665" cy="2439479"/>
          </a:xfrm>
        </p:grpSpPr>
        <p:sp>
          <p:nvSpPr>
            <p:cNvPr id="22" name="Hexagon 21">
              <a:extLst>
                <a:ext uri="{FF2B5EF4-FFF2-40B4-BE49-F238E27FC236}">
                  <a16:creationId xmlns:a16="http://schemas.microsoft.com/office/drawing/2014/main" id="{77FF3262-8A4C-4976-942E-37A1A941B222}"/>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3" name="Hexagon 22">
              <a:extLst>
                <a:ext uri="{FF2B5EF4-FFF2-40B4-BE49-F238E27FC236}">
                  <a16:creationId xmlns:a16="http://schemas.microsoft.com/office/drawing/2014/main" id="{09495A64-352F-43DD-9D55-5AABA3ECA743}"/>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5426137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266046" y="300555"/>
            <a:ext cx="3884219" cy="309252"/>
          </a:xfrm>
        </p:spPr>
        <p:txBody>
          <a:bodyPr/>
          <a:lstStyle/>
          <a:p>
            <a:r>
              <a:rPr lang="de-DE" sz="2700"/>
              <a:t>Default Environment</a:t>
            </a:r>
            <a:endParaRPr lang="en-US" sz="27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1" y="365"/>
            <a:ext cx="6601796" cy="1025132"/>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a:solidFill>
                  <a:srgbClr val="FFFFFF"/>
                </a:solidFill>
                <a:latin typeface="Segoe UI Semibold"/>
              </a:rPr>
              <a:t>Default environment</a:t>
            </a:r>
          </a:p>
        </p:txBody>
      </p:sp>
      <p:grpSp>
        <p:nvGrpSpPr>
          <p:cNvPr id="6" name="Group 5">
            <a:extLst>
              <a:ext uri="{FF2B5EF4-FFF2-40B4-BE49-F238E27FC236}">
                <a16:creationId xmlns:a16="http://schemas.microsoft.com/office/drawing/2014/main" id="{E5A47182-BDFE-4496-A2BB-9ACEF4391F4A}"/>
              </a:ext>
            </a:extLst>
          </p:cNvPr>
          <p:cNvGrpSpPr/>
          <p:nvPr/>
        </p:nvGrpSpPr>
        <p:grpSpPr>
          <a:xfrm>
            <a:off x="440055" y="1166517"/>
            <a:ext cx="7433008" cy="3614033"/>
            <a:chOff x="586740" y="1640419"/>
            <a:chExt cx="9910677" cy="4818711"/>
          </a:xfrm>
        </p:grpSpPr>
        <p:sp>
          <p:nvSpPr>
            <p:cNvPr id="5" name="TextBox 4">
              <a:extLst>
                <a:ext uri="{FF2B5EF4-FFF2-40B4-BE49-F238E27FC236}">
                  <a16:creationId xmlns:a16="http://schemas.microsoft.com/office/drawing/2014/main" id="{8B55A5CB-138F-47D3-9570-C2845DCE7709}"/>
                </a:ext>
              </a:extLst>
            </p:cNvPr>
            <p:cNvSpPr txBox="1"/>
            <p:nvPr/>
          </p:nvSpPr>
          <p:spPr>
            <a:xfrm>
              <a:off x="586740" y="2899859"/>
              <a:ext cx="9910677" cy="3559271"/>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Key facts:</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Default is not for development of critical apps</a:t>
              </a:r>
              <a:r>
                <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rPr>
                <a:t>.</a:t>
              </a:r>
            </a:p>
            <a:p>
              <a:pPr algn="just" defTabSz="685775">
                <a:lnSpc>
                  <a:spcPct val="90000"/>
                </a:lnSpc>
                <a:spcAft>
                  <a:spcPts val="441"/>
                </a:spcAft>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Everyone in the tenant can create apps and flows in this environment.</a:t>
              </a:r>
              <a:endPar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There is no way to block the assignment of the Environment Maker role assignment or remove it</a:t>
              </a: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This environment can't be disabled or deleted because it hosts integration with products like SharePoint and Project.</a:t>
              </a:r>
            </a:p>
            <a:p>
              <a:pPr algn="just" defTabSz="685775">
                <a:lnSpc>
                  <a:spcPct val="90000"/>
                </a:lnSpc>
                <a:spcAft>
                  <a:spcPts val="441"/>
                </a:spcAft>
              </a:pPr>
              <a:endParaRPr lang="en-US" sz="450">
                <a:solidFill>
                  <a:srgbClr val="000000"/>
                </a:solidFill>
                <a:latin typeface="Segoe UI"/>
              </a:endParaRPr>
            </a:p>
            <a:p>
              <a:pPr algn="just" defTabSz="685800">
                <a:lnSpc>
                  <a:spcPct val="90000"/>
                </a:lnSpc>
                <a:spcAft>
                  <a:spcPts val="450"/>
                </a:spcAft>
              </a:pPr>
              <a:r>
                <a:rPr lang="en-US" sz="1350" b="1">
                  <a:solidFill>
                    <a:srgbClr val="000000"/>
                  </a:solidFill>
                  <a:latin typeface="Segoe UI"/>
                </a:rPr>
                <a:t>Security tips:</a:t>
              </a:r>
            </a:p>
            <a:p>
              <a:pPr algn="just" defTabSz="685800">
                <a:lnSpc>
                  <a:spcPct val="90000"/>
                </a:lnSpc>
                <a:spcAft>
                  <a:spcPts val="450"/>
                </a:spcAft>
              </a:pPr>
              <a:endParaRPr lang="en-US" sz="450" b="1">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Rename the environment to make the purpose of that environment self-explanatory.</a:t>
              </a:r>
            </a:p>
            <a:p>
              <a:pPr marL="214313" indent="-214313" defTabSz="685800">
                <a:lnSpc>
                  <a:spcPct val="90000"/>
                </a:lnSpc>
                <a:spcAft>
                  <a:spcPts val="450"/>
                </a:spcAft>
                <a:buFont typeface="Arial" panose="020B0604020202020204" pitchFamily="34" charset="0"/>
                <a:buChar char="•"/>
              </a:pPr>
              <a:endParaRPr lang="en-US" sz="450">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Configure a data loss policy to control the connectors that can be used by apps and flows in the default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6740" y="1640419"/>
              <a:ext cx="5919702" cy="1340543"/>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Definition:</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A single default environment is automatically created for each tenant and is shared by all users in the tenant (who are Environment Makers). Learn more </a:t>
              </a:r>
              <a:r>
                <a:rPr lang="en-US" sz="1050">
                  <a:solidFill>
                    <a:srgbClr val="000000"/>
                  </a:solidFill>
                  <a:latin typeface="Segoe UI"/>
                  <a:hlinkClick r:id="rId3"/>
                </a:rPr>
                <a:t>here</a:t>
              </a:r>
              <a:r>
                <a:rPr lang="en-US" sz="1050">
                  <a:solidFill>
                    <a:srgbClr val="000000"/>
                  </a:solidFill>
                  <a:latin typeface="Segoe UI"/>
                </a:rPr>
                <a:t>.</a:t>
              </a:r>
              <a:endParaRPr lang="en-US" sz="1050" i="1">
                <a:solidFill>
                  <a:srgbClr val="000000"/>
                </a:solidFill>
                <a:latin typeface="Segoe UI"/>
              </a:endParaRPr>
            </a:p>
          </p:txBody>
        </p:sp>
      </p:grpSp>
      <p:pic>
        <p:nvPicPr>
          <p:cNvPr id="4" name="Picture 3" descr="Default Environment - Screenshot">
            <a:extLst>
              <a:ext uri="{FF2B5EF4-FFF2-40B4-BE49-F238E27FC236}">
                <a16:creationId xmlns:a16="http://schemas.microsoft.com/office/drawing/2014/main" id="{0DDD5A9F-902A-4A55-A839-1E9256270B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11521" y="1626493"/>
            <a:ext cx="3292424" cy="887957"/>
          </a:xfrm>
          <a:prstGeom prst="rect">
            <a:avLst/>
          </a:prstGeom>
          <a:ln>
            <a:solidFill>
              <a:schemeClr val="accent2"/>
            </a:solidFill>
          </a:ln>
        </p:spPr>
      </p:pic>
    </p:spTree>
    <p:extLst>
      <p:ext uri="{BB962C8B-B14F-4D97-AF65-F5344CB8AC3E}">
        <p14:creationId xmlns:p14="http://schemas.microsoft.com/office/powerpoint/2010/main" val="14271919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893E9298-3901-4302-A5A5-9194BB08CB50}"/>
              </a:ext>
            </a:extLst>
          </p:cNvPr>
          <p:cNvGrpSpPr/>
          <p:nvPr/>
        </p:nvGrpSpPr>
        <p:grpSpPr>
          <a:xfrm>
            <a:off x="7939872" y="-310978"/>
            <a:ext cx="1667349" cy="1376624"/>
            <a:chOff x="10308253" y="-1239842"/>
            <a:chExt cx="2954665" cy="2439479"/>
          </a:xfrm>
        </p:grpSpPr>
        <p:sp>
          <p:nvSpPr>
            <p:cNvPr id="36" name="Hexagon 35">
              <a:extLst>
                <a:ext uri="{FF2B5EF4-FFF2-40B4-BE49-F238E27FC236}">
                  <a16:creationId xmlns:a16="http://schemas.microsoft.com/office/drawing/2014/main" id="{0554BF49-4D30-4992-BE8D-C913CCB1BEE9}"/>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37" name="Hexagon 36">
              <a:extLst>
                <a:ext uri="{FF2B5EF4-FFF2-40B4-BE49-F238E27FC236}">
                  <a16:creationId xmlns:a16="http://schemas.microsoft.com/office/drawing/2014/main" id="{F6C6D77B-E983-40B7-B039-28E878AD3B5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pic>
        <p:nvPicPr>
          <p:cNvPr id="9" name="Picture 8">
            <a:extLst>
              <a:ext uri="{FF2B5EF4-FFF2-40B4-BE49-F238E27FC236}">
                <a16:creationId xmlns:a16="http://schemas.microsoft.com/office/drawing/2014/main" id="{60510D13-6929-421E-9E7F-EDC9D0ADDD7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2871"/>
          <a:stretch/>
        </p:blipFill>
        <p:spPr>
          <a:xfrm>
            <a:off x="270986" y="1301748"/>
            <a:ext cx="3052351" cy="3050370"/>
          </a:xfrm>
          <a:prstGeom prst="rect">
            <a:avLst/>
          </a:prstGeom>
        </p:spPr>
      </p:pic>
      <p:grpSp>
        <p:nvGrpSpPr>
          <p:cNvPr id="28" name="Group 27">
            <a:extLst>
              <a:ext uri="{FF2B5EF4-FFF2-40B4-BE49-F238E27FC236}">
                <a16:creationId xmlns:a16="http://schemas.microsoft.com/office/drawing/2014/main" id="{F93A7A14-0151-4A8B-9903-85067580408B}"/>
              </a:ext>
            </a:extLst>
          </p:cNvPr>
          <p:cNvGrpSpPr/>
          <p:nvPr/>
        </p:nvGrpSpPr>
        <p:grpSpPr>
          <a:xfrm>
            <a:off x="10027" y="365"/>
            <a:ext cx="8125796" cy="1025132"/>
            <a:chOff x="0" y="0"/>
            <a:chExt cx="8978900" cy="1394250"/>
          </a:xfrm>
          <a:solidFill>
            <a:schemeClr val="accent6"/>
          </a:solidFill>
        </p:grpSpPr>
        <p:sp>
          <p:nvSpPr>
            <p:cNvPr id="29" name="Freeform: Shape 28">
              <a:extLst>
                <a:ext uri="{FF2B5EF4-FFF2-40B4-BE49-F238E27FC236}">
                  <a16:creationId xmlns:a16="http://schemas.microsoft.com/office/drawing/2014/main" id="{460EE109-0248-4443-B350-ADEB6DC4D9D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09556C8E-E623-4666-A150-13B4900FCAE7}"/>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8" name="Title 1">
            <a:extLst>
              <a:ext uri="{FF2B5EF4-FFF2-40B4-BE49-F238E27FC236}">
                <a16:creationId xmlns:a16="http://schemas.microsoft.com/office/drawing/2014/main" id="{938DE0A0-9E1E-45F2-9337-198B2D2060B9}"/>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dirty="0">
                <a:solidFill>
                  <a:srgbClr val="FFFFFF"/>
                </a:solidFill>
                <a:latin typeface="Segoe UI Semibold"/>
                <a:cs typeface="Segoe UI"/>
              </a:rPr>
              <a:t>Strategy for establishing secure environments </a:t>
            </a:r>
            <a:endParaRPr lang="en-US" sz="2700" spc="-38" dirty="0">
              <a:solidFill>
                <a:srgbClr val="FFFFFF"/>
              </a:solidFill>
              <a:latin typeface="Segoe UI Semibold"/>
            </a:endParaRPr>
          </a:p>
        </p:txBody>
      </p:sp>
      <p:sp>
        <p:nvSpPr>
          <p:cNvPr id="7" name="TextBox 6">
            <a:extLst>
              <a:ext uri="{FF2B5EF4-FFF2-40B4-BE49-F238E27FC236}">
                <a16:creationId xmlns:a16="http://schemas.microsoft.com/office/drawing/2014/main" id="{11606505-1F61-4EAC-90E8-A18E3AE3F463}"/>
              </a:ext>
            </a:extLst>
          </p:cNvPr>
          <p:cNvSpPr txBox="1"/>
          <p:nvPr/>
        </p:nvSpPr>
        <p:spPr>
          <a:xfrm>
            <a:off x="3708955" y="1349606"/>
            <a:ext cx="5785682" cy="2908489"/>
          </a:xfrm>
          <a:prstGeom prst="rect">
            <a:avLst/>
          </a:prstGeom>
          <a:noFill/>
        </p:spPr>
        <p:txBody>
          <a:bodyPr wrap="square" lIns="0" tIns="0" rIns="0" bIns="0" rtlCol="0">
            <a:spAutoFit/>
          </a:bodyPr>
          <a:lstStyle/>
          <a:p>
            <a:pPr defTabSz="685800">
              <a:spcBef>
                <a:spcPts val="900"/>
              </a:spcBef>
              <a:spcAft>
                <a:spcPts val="900"/>
              </a:spcAft>
            </a:pPr>
            <a:r>
              <a:rPr lang="en-US" sz="1350" b="1">
                <a:solidFill>
                  <a:srgbClr val="000000"/>
                </a:solidFill>
                <a:latin typeface="Segoe UI"/>
              </a:rPr>
              <a:t>Security checklist (</a:t>
            </a:r>
            <a:r>
              <a:rPr lang="en-US" sz="1350" b="1">
                <a:solidFill>
                  <a:srgbClr val="000000"/>
                </a:solidFill>
                <a:latin typeface="Segoe UI"/>
                <a:cs typeface="Raavi" panose="020B0502040204020203" pitchFamily="34" charset="0"/>
              </a:rPr>
              <a:t>learn more </a:t>
            </a:r>
            <a:r>
              <a:rPr lang="en-US" sz="1350" b="1">
                <a:solidFill>
                  <a:srgbClr val="000000"/>
                </a:solidFill>
                <a:latin typeface="Segoe UI"/>
                <a:cs typeface="Raavi" panose="020B0502040204020203" pitchFamily="34" charset="0"/>
                <a:hlinkClick r:id="rId4"/>
              </a:rPr>
              <a:t>here</a:t>
            </a:r>
            <a:r>
              <a:rPr lang="en-US" sz="1350" b="1">
                <a:solidFill>
                  <a:srgbClr val="000000"/>
                </a:solidFill>
                <a:latin typeface="Segoe UI"/>
                <a:cs typeface="Raavi" panose="020B0502040204020203" pitchFamily="34" charset="0"/>
              </a:rPr>
              <a:t>)</a:t>
            </a:r>
            <a:r>
              <a:rPr lang="en-US" sz="1350" b="1">
                <a:solidFill>
                  <a:srgbClr val="000000"/>
                </a:solidFill>
                <a:latin typeface="Segoe UI"/>
              </a:rPr>
              <a: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Assign your admins the Power Platform service admin role.</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Restrict the creation of net-new trial and production environments to admin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Treat the default environment as a ‘Personal productivity’ environmen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a process for requesting access to or creation of environment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Dev/Test/Production environments for specific business groups/ application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Individual-use environments for POCs and training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Tenant and Environment level Data Loss Prevention (DLP) policies.</a:t>
            </a:r>
          </a:p>
        </p:txBody>
      </p:sp>
      <p:sp>
        <p:nvSpPr>
          <p:cNvPr id="10" name="TextBox 9">
            <a:extLst>
              <a:ext uri="{FF2B5EF4-FFF2-40B4-BE49-F238E27FC236}">
                <a16:creationId xmlns:a16="http://schemas.microsoft.com/office/drawing/2014/main" id="{7C8109AF-066C-4279-B0D9-5C563F6A29D4}"/>
              </a:ext>
            </a:extLst>
          </p:cNvPr>
          <p:cNvSpPr txBox="1"/>
          <p:nvPr/>
        </p:nvSpPr>
        <p:spPr>
          <a:xfrm>
            <a:off x="9928" y="4389840"/>
            <a:ext cx="3574466" cy="450123"/>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Visual representation of an environment strategy at work.</a:t>
            </a:r>
          </a:p>
        </p:txBody>
      </p:sp>
    </p:spTree>
    <p:extLst>
      <p:ext uri="{BB962C8B-B14F-4D97-AF65-F5344CB8AC3E}">
        <p14:creationId xmlns:p14="http://schemas.microsoft.com/office/powerpoint/2010/main" val="179380130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b="1">
                <a:solidFill>
                  <a:srgbClr val="3C3C41"/>
                </a:solidFill>
                <a:latin typeface="Segoe UI"/>
              </a:rPr>
              <a:t>Default Environment</a:t>
            </a:r>
            <a:r>
              <a:rPr lang="en-US" sz="1175">
                <a:solidFill>
                  <a:srgbClr val="3C3C41"/>
                </a:solidFill>
                <a:latin typeface="Segoe UI"/>
              </a:rPr>
              <a:t>: Everyone is a maker. Apply a restrictive DLP policy to reduce risk to data.</a:t>
            </a:r>
            <a:endParaRPr lang="en-US" sz="1200">
              <a:solidFill>
                <a:srgbClr val="3C3C41"/>
              </a:solidFill>
              <a:latin typeface="Segoe UI"/>
            </a:endParaRPr>
          </a:p>
          <a:p>
            <a:pPr>
              <a:spcBef>
                <a:spcPts val="900"/>
              </a:spcBef>
              <a:spcAft>
                <a:spcPts val="900"/>
              </a:spcAft>
            </a:pPr>
            <a:r>
              <a:rPr lang="en-US" sz="1175" b="1">
                <a:solidFill>
                  <a:srgbClr val="3C3C41"/>
                </a:solidFill>
                <a:latin typeface="Segoe UI"/>
              </a:rPr>
              <a:t>Power User Environment</a:t>
            </a:r>
            <a:r>
              <a:rPr lang="en-US" sz="1175">
                <a:solidFill>
                  <a:srgbClr val="3C3C41"/>
                </a:solidFill>
                <a:latin typeface="Segoe UI"/>
              </a:rPr>
              <a:t>: Shared environment, admins control the maker list. Less restrictive DLP policy.</a:t>
            </a:r>
          </a:p>
          <a:p>
            <a:pPr>
              <a:spcBef>
                <a:spcPts val="900"/>
              </a:spcBef>
              <a:spcAft>
                <a:spcPts val="900"/>
              </a:spcAft>
            </a:pPr>
            <a:r>
              <a:rPr lang="en-US" sz="1175" b="1">
                <a:solidFill>
                  <a:srgbClr val="3C3C41"/>
                </a:solidFill>
                <a:latin typeface="Segoe UI"/>
              </a:rPr>
              <a:t>Power Dev Environment</a:t>
            </a:r>
            <a:r>
              <a:rPr lang="en-US" sz="1175">
                <a:solidFill>
                  <a:srgbClr val="3C3C41"/>
                </a:solidFill>
                <a:latin typeface="Segoe UI"/>
              </a:rPr>
              <a:t>: Shared environment for more complex scenarios, admins control the maker list. Less restrictive DLP policy.</a:t>
            </a:r>
          </a:p>
          <a:p>
            <a:pPr>
              <a:spcBef>
                <a:spcPts val="900"/>
              </a:spcBef>
              <a:spcAft>
                <a:spcPts val="900"/>
              </a:spcAft>
            </a:pPr>
            <a:r>
              <a:rPr lang="en-US" sz="1175" b="1">
                <a:solidFill>
                  <a:srgbClr val="3C3C41"/>
                </a:solidFill>
                <a:latin typeface="Segoe UI"/>
              </a:rPr>
              <a:t>Training environments</a:t>
            </a:r>
            <a:r>
              <a:rPr lang="en-US" sz="1175">
                <a:solidFill>
                  <a:srgbClr val="3C3C41"/>
                </a:solidFill>
                <a:latin typeface="Segoe UI"/>
              </a:rPr>
              <a:t>: Shared environment for internal training events, trainers control maker list. DLP policy to allow for training scenarios. </a:t>
            </a:r>
          </a:p>
        </p:txBody>
      </p:sp>
      <p:pic>
        <p:nvPicPr>
          <p:cNvPr id="4" name="Picture 3">
            <a:extLst>
              <a:ext uri="{FF2B5EF4-FFF2-40B4-BE49-F238E27FC236}">
                <a16:creationId xmlns:a16="http://schemas.microsoft.com/office/drawing/2014/main" id="{B81DD636-A187-43C6-96DB-1D45BE577809}"/>
              </a:ext>
            </a:extLst>
          </p:cNvPr>
          <p:cNvPicPr>
            <a:picLocks noChangeAspect="1"/>
          </p:cNvPicPr>
          <p:nvPr/>
        </p:nvPicPr>
        <p:blipFill>
          <a:blip r:embed="rId4"/>
          <a:stretch>
            <a:fillRect/>
          </a:stretch>
        </p:blipFill>
        <p:spPr>
          <a:xfrm>
            <a:off x="649490" y="1516331"/>
            <a:ext cx="4290677" cy="1915152"/>
          </a:xfrm>
          <a:prstGeom prst="rect">
            <a:avLst/>
          </a:prstGeom>
        </p:spPr>
      </p:pic>
      <p:pic>
        <p:nvPicPr>
          <p:cNvPr id="11" name="Graphic 10" descr="Teacher">
            <a:extLst>
              <a:ext uri="{FF2B5EF4-FFF2-40B4-BE49-F238E27FC236}">
                <a16:creationId xmlns:a16="http://schemas.microsoft.com/office/drawing/2014/main" id="{B2C3634F-1CC1-463D-8360-04BD5A8DA79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25990" y="3672858"/>
            <a:ext cx="324000" cy="324000"/>
          </a:xfrm>
          <a:prstGeom prst="rect">
            <a:avLst/>
          </a:prstGeom>
        </p:spPr>
      </p:pic>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275566"/>
            <a:ext cx="324000" cy="324000"/>
          </a:xfrm>
          <a:prstGeom prst="rect">
            <a:avLst/>
          </a:prstGeom>
        </p:spPr>
      </p:pic>
      <p:pic>
        <p:nvPicPr>
          <p:cNvPr id="18" name="Graphic 17" descr="Windmill">
            <a:extLst>
              <a:ext uri="{FF2B5EF4-FFF2-40B4-BE49-F238E27FC236}">
                <a16:creationId xmlns:a16="http://schemas.microsoft.com/office/drawing/2014/main" id="{AF04A26A-062A-4081-B7AB-C9DC5230D5E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25990" y="2040545"/>
            <a:ext cx="324000" cy="324000"/>
          </a:xfrm>
          <a:prstGeom prst="rect">
            <a:avLst/>
          </a:prstGeom>
        </p:spPr>
      </p:pic>
      <p:pic>
        <p:nvPicPr>
          <p:cNvPr id="26" name="Graphic 25" descr="Electric Tower">
            <a:extLst>
              <a:ext uri="{FF2B5EF4-FFF2-40B4-BE49-F238E27FC236}">
                <a16:creationId xmlns:a16="http://schemas.microsoft.com/office/drawing/2014/main" id="{66CED5CB-906E-4C6E-AD0D-BBBF4BC53F94}"/>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44648" y="2819483"/>
            <a:ext cx="324000" cy="324000"/>
          </a:xfrm>
          <a:prstGeom prst="rect">
            <a:avLst/>
          </a:prstGeom>
        </p:spPr>
      </p:pic>
      <p:grpSp>
        <p:nvGrpSpPr>
          <p:cNvPr id="15" name="Group 14">
            <a:extLst>
              <a:ext uri="{FF2B5EF4-FFF2-40B4-BE49-F238E27FC236}">
                <a16:creationId xmlns:a16="http://schemas.microsoft.com/office/drawing/2014/main" id="{73F18B4F-AA7A-4C02-BD5D-C49564F2CFDF}"/>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2ECD5B59-2E95-4274-8267-120D03C70682}"/>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09E0E5A-3F58-4DD0-9663-4828BF31E5BD}"/>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 name="Title 1">
            <a:extLst>
              <a:ext uri="{FF2B5EF4-FFF2-40B4-BE49-F238E27FC236}">
                <a16:creationId xmlns:a16="http://schemas.microsoft.com/office/drawing/2014/main" id="{2397B62A-C1BC-4E68-BF35-E8449264069C}"/>
              </a:ext>
            </a:extLst>
          </p:cNvPr>
          <p:cNvSpPr txBox="1">
            <a:spLocks/>
          </p:cNvSpPr>
          <p:nvPr/>
        </p:nvSpPr>
        <p:spPr>
          <a:xfrm>
            <a:off x="440055" y="330157"/>
            <a:ext cx="8263890" cy="61702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Tiered approach to Team and Employee Productivity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51945547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dirty="0" err="1"/>
              <a:t>Cutom</a:t>
            </a:r>
            <a:r>
              <a:rPr lang="en-GB" dirty="0"/>
              <a:t> environments</a:t>
            </a:r>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Work with project teams or business units to establish what environments they need</a:t>
            </a:r>
          </a:p>
          <a:p>
            <a:pPr>
              <a:spcBef>
                <a:spcPts val="900"/>
              </a:spcBef>
              <a:spcAft>
                <a:spcPts val="900"/>
              </a:spcAft>
            </a:pPr>
            <a:r>
              <a:rPr lang="en-US" sz="1175">
                <a:solidFill>
                  <a:srgbClr val="3C3C41"/>
                </a:solidFill>
                <a:latin typeface="Segoe UI"/>
              </a:rPr>
              <a:t>Work with the teams to establish what connectors are required and create an exception policy.</a:t>
            </a:r>
          </a:p>
          <a:p>
            <a:pPr>
              <a:spcBef>
                <a:spcPts val="900"/>
              </a:spcBef>
              <a:spcAft>
                <a:spcPts val="900"/>
              </a:spcAft>
            </a:pPr>
            <a:r>
              <a:rPr lang="en-US" sz="1175">
                <a:solidFill>
                  <a:srgbClr val="3C3C41"/>
                </a:solidFill>
                <a:latin typeface="Segoe UI"/>
              </a:rPr>
              <a:t>Work with the teams to establish who will be a maker in this environment.</a:t>
            </a:r>
          </a:p>
        </p:txBody>
      </p:sp>
      <p:pic>
        <p:nvPicPr>
          <p:cNvPr id="10" name="Picture 9">
            <a:extLst>
              <a:ext uri="{FF2B5EF4-FFF2-40B4-BE49-F238E27FC236}">
                <a16:creationId xmlns:a16="http://schemas.microsoft.com/office/drawing/2014/main" id="{C0429820-0E7F-4F32-8C5B-C3415CCB02DF}"/>
              </a:ext>
            </a:extLst>
          </p:cNvPr>
          <p:cNvPicPr>
            <a:picLocks noChangeAspect="1"/>
          </p:cNvPicPr>
          <p:nvPr/>
        </p:nvPicPr>
        <p:blipFill>
          <a:blip r:embed="rId4"/>
          <a:stretch>
            <a:fillRect/>
          </a:stretch>
        </p:blipFill>
        <p:spPr>
          <a:xfrm>
            <a:off x="659616" y="1396239"/>
            <a:ext cx="4280373" cy="1956561"/>
          </a:xfrm>
          <a:prstGeom prst="rect">
            <a:avLst/>
          </a:prstGeom>
        </p:spPr>
      </p:pic>
      <p:pic>
        <p:nvPicPr>
          <p:cNvPr id="15" name="Graphic 14" descr="Puzzle">
            <a:extLst>
              <a:ext uri="{FF2B5EF4-FFF2-40B4-BE49-F238E27FC236}">
                <a16:creationId xmlns:a16="http://schemas.microsoft.com/office/drawing/2014/main" id="{C0A712F3-E239-4779-8690-9AA0FE1E56E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4670" y="2050520"/>
            <a:ext cx="324000" cy="324000"/>
          </a:xfrm>
          <a:prstGeom prst="rect">
            <a:avLst/>
          </a:prstGeom>
        </p:spPr>
      </p:pic>
      <p:pic>
        <p:nvPicPr>
          <p:cNvPr id="20" name="Graphic 19" descr="Touch Screen">
            <a:extLst>
              <a:ext uri="{FF2B5EF4-FFF2-40B4-BE49-F238E27FC236}">
                <a16:creationId xmlns:a16="http://schemas.microsoft.com/office/drawing/2014/main" id="{CFE9067F-9BE5-4D1A-8067-47410162AB0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4670" y="2835900"/>
            <a:ext cx="324000" cy="324000"/>
          </a:xfrm>
          <a:prstGeom prst="rect">
            <a:avLst/>
          </a:prstGeom>
        </p:spPr>
      </p:pic>
      <p:pic>
        <p:nvPicPr>
          <p:cNvPr id="21" name="Graphic 20" descr="Alterations &amp; Tailoring">
            <a:extLst>
              <a:ext uri="{FF2B5EF4-FFF2-40B4-BE49-F238E27FC236}">
                <a16:creationId xmlns:a16="http://schemas.microsoft.com/office/drawing/2014/main" id="{FB377EFC-7899-4437-8D8D-F408779372D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1247117"/>
            <a:ext cx="324000" cy="324000"/>
          </a:xfrm>
          <a:prstGeom prst="rect">
            <a:avLst/>
          </a:prstGeom>
        </p:spPr>
      </p:pic>
      <p:grpSp>
        <p:nvGrpSpPr>
          <p:cNvPr id="13" name="Group 12">
            <a:extLst>
              <a:ext uri="{FF2B5EF4-FFF2-40B4-BE49-F238E27FC236}">
                <a16:creationId xmlns:a16="http://schemas.microsoft.com/office/drawing/2014/main" id="{2D5CC9B6-1708-4AE3-A1C8-DAB953035201}"/>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31AF6B47-3C3F-4F72-B1AF-736DEA7D8E0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3B2FA1E9-D21B-4D78-BDE7-FEBC55592C9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8" name="Title 1">
            <a:extLst>
              <a:ext uri="{FF2B5EF4-FFF2-40B4-BE49-F238E27FC236}">
                <a16:creationId xmlns:a16="http://schemas.microsoft.com/office/drawing/2014/main" id="{8E04F060-6885-4AC7-AEC5-FD0CD5B29C57}"/>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Custom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27224995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30435" y="1142454"/>
            <a:ext cx="2682495" cy="2132394"/>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GB" sz="1175" b="1" dirty="0">
                <a:solidFill>
                  <a:srgbClr val="3C3C41"/>
                </a:solidFill>
                <a:latin typeface="Segoe UI"/>
              </a:rPr>
              <a:t>Defined tiers of application support: </a:t>
            </a:r>
            <a:r>
              <a:rPr lang="en-GB" sz="1175" dirty="0">
                <a:solidFill>
                  <a:srgbClr val="3C3C41"/>
                </a:solidFill>
                <a:latin typeface="Segoe UI"/>
              </a:rPr>
              <a:t>The level of complexity, how critical the app is, and users impacted by the application are all important measures of how to provision environments to support all the scenarios.</a:t>
            </a:r>
          </a:p>
          <a:p>
            <a:pPr>
              <a:spcBef>
                <a:spcPts val="900"/>
              </a:spcBef>
              <a:spcAft>
                <a:spcPts val="900"/>
              </a:spcAft>
            </a:pPr>
            <a:r>
              <a:rPr lang="en-GB" sz="1175" b="1" dirty="0">
                <a:solidFill>
                  <a:srgbClr val="3C3C41"/>
                </a:solidFill>
                <a:latin typeface="Segoe UI"/>
              </a:rPr>
              <a:t>Capacity: </a:t>
            </a:r>
            <a:r>
              <a:rPr lang="en-GB" sz="1175" dirty="0">
                <a:solidFill>
                  <a:srgbClr val="3C3C41"/>
                </a:solidFill>
                <a:latin typeface="Segoe UI"/>
              </a:rPr>
              <a:t>Each environment (besides trial and developer environments) will consume 1GB to initially provision. This might be a constraint for provisioning environments </a:t>
            </a:r>
          </a:p>
          <a:p>
            <a:pPr>
              <a:spcBef>
                <a:spcPts val="900"/>
              </a:spcBef>
              <a:spcAft>
                <a:spcPts val="900"/>
              </a:spcAft>
            </a:pPr>
            <a:r>
              <a:rPr lang="en-GB" sz="1175" b="1" dirty="0">
                <a:solidFill>
                  <a:srgbClr val="3C3C41"/>
                </a:solidFill>
                <a:latin typeface="Segoe UI"/>
              </a:rPr>
              <a:t>Admin involvement</a:t>
            </a:r>
            <a:r>
              <a:rPr lang="en-GB" sz="1175" dirty="0">
                <a:solidFill>
                  <a:srgbClr val="3C3C41"/>
                </a:solidFill>
                <a:latin typeface="Segoe UI"/>
              </a:rPr>
              <a:t>: Automating environment creation and </a:t>
            </a:r>
            <a:r>
              <a:rPr lang="en-GB" sz="1175" dirty="0" err="1">
                <a:solidFill>
                  <a:srgbClr val="3C3C41"/>
                </a:solidFill>
                <a:latin typeface="Segoe UI"/>
              </a:rPr>
              <a:t>cleanup</a:t>
            </a:r>
            <a:endParaRPr lang="en-GB" sz="1175" dirty="0">
              <a:solidFill>
                <a:srgbClr val="3C3C41"/>
              </a:solidFill>
              <a:latin typeface="Segoe UI"/>
            </a:endParaRPr>
          </a:p>
        </p:txBody>
      </p:sp>
      <p:pic>
        <p:nvPicPr>
          <p:cNvPr id="1030" name="Picture 6">
            <a:extLst>
              <a:ext uri="{FF2B5EF4-FFF2-40B4-BE49-F238E27FC236}">
                <a16:creationId xmlns:a16="http://schemas.microsoft.com/office/drawing/2014/main" id="{0C146594-AADF-40EF-86C1-9FE66D9B760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12930" y="1112733"/>
            <a:ext cx="5671462" cy="3469373"/>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descr="Formal Shirt">
            <a:extLst>
              <a:ext uri="{FF2B5EF4-FFF2-40B4-BE49-F238E27FC236}">
                <a16:creationId xmlns:a16="http://schemas.microsoft.com/office/drawing/2014/main" id="{487AAC4A-CF7E-4AC5-8455-733A090FE9E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055" y="3565679"/>
            <a:ext cx="324000" cy="324000"/>
          </a:xfrm>
          <a:prstGeom prst="rect">
            <a:avLst/>
          </a:prstGeom>
        </p:spPr>
      </p:pic>
      <p:pic>
        <p:nvPicPr>
          <p:cNvPr id="35" name="Graphic 34" descr="Battery charging">
            <a:extLst>
              <a:ext uri="{FF2B5EF4-FFF2-40B4-BE49-F238E27FC236}">
                <a16:creationId xmlns:a16="http://schemas.microsoft.com/office/drawing/2014/main" id="{7AD3FBF7-B8A1-4AFB-A59B-CE5EB9FADC8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0055" y="2339206"/>
            <a:ext cx="324000" cy="324000"/>
          </a:xfrm>
          <a:prstGeom prst="rect">
            <a:avLst/>
          </a:prstGeom>
        </p:spPr>
      </p:pic>
      <p:pic>
        <p:nvPicPr>
          <p:cNvPr id="38" name="Graphic 37" descr="Hierarchy">
            <a:extLst>
              <a:ext uri="{FF2B5EF4-FFF2-40B4-BE49-F238E27FC236}">
                <a16:creationId xmlns:a16="http://schemas.microsoft.com/office/drawing/2014/main" id="{5764F4A1-D399-4B16-9BDD-48EB149150F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055" y="1112733"/>
            <a:ext cx="324000" cy="324000"/>
          </a:xfrm>
          <a:prstGeom prst="rect">
            <a:avLst/>
          </a:prstGeom>
        </p:spPr>
      </p:pic>
      <p:sp>
        <p:nvSpPr>
          <p:cNvPr id="7" name="Title 6">
            <a:extLst>
              <a:ext uri="{FF2B5EF4-FFF2-40B4-BE49-F238E27FC236}">
                <a16:creationId xmlns:a16="http://schemas.microsoft.com/office/drawing/2014/main" id="{E7F014EF-CB67-4193-A953-5B8A50D2772D}"/>
              </a:ext>
            </a:extLst>
          </p:cNvPr>
          <p:cNvSpPr>
            <a:spLocks noGrp="1"/>
          </p:cNvSpPr>
          <p:nvPr>
            <p:ph type="title"/>
          </p:nvPr>
        </p:nvSpPr>
        <p:spPr/>
        <p:txBody>
          <a:bodyPr/>
          <a:lstStyle/>
          <a:p>
            <a:endParaRPr lang="en-GB"/>
          </a:p>
        </p:txBody>
      </p:sp>
      <p:grpSp>
        <p:nvGrpSpPr>
          <p:cNvPr id="12" name="Group 11">
            <a:extLst>
              <a:ext uri="{FF2B5EF4-FFF2-40B4-BE49-F238E27FC236}">
                <a16:creationId xmlns:a16="http://schemas.microsoft.com/office/drawing/2014/main" id="{6051B525-9A1E-45A1-B173-58B37044CDA7}"/>
              </a:ext>
            </a:extLst>
          </p:cNvPr>
          <p:cNvGrpSpPr/>
          <p:nvPr/>
        </p:nvGrpSpPr>
        <p:grpSpPr>
          <a:xfrm>
            <a:off x="0" y="5039"/>
            <a:ext cx="8125796" cy="1025132"/>
            <a:chOff x="0" y="0"/>
            <a:chExt cx="8978900" cy="1394250"/>
          </a:xfrm>
          <a:solidFill>
            <a:schemeClr val="accent6"/>
          </a:solidFill>
        </p:grpSpPr>
        <p:sp>
          <p:nvSpPr>
            <p:cNvPr id="13" name="Freeform: Shape 12">
              <a:extLst>
                <a:ext uri="{FF2B5EF4-FFF2-40B4-BE49-F238E27FC236}">
                  <a16:creationId xmlns:a16="http://schemas.microsoft.com/office/drawing/2014/main" id="{36C51284-B3BF-48DA-95D1-9A56B2ABB911}"/>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31C51517-F206-4DB7-A0E3-4ABE79E6A32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5" name="Title 1">
            <a:extLst>
              <a:ext uri="{FF2B5EF4-FFF2-40B4-BE49-F238E27FC236}">
                <a16:creationId xmlns:a16="http://schemas.microsoft.com/office/drawing/2014/main" id="{D4D0C7DD-EC24-412C-8837-38428C5D8EA0}"/>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Key consideration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38057368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ECDF490-C962-48DB-AB40-B48B8CDE3213}"/>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2"/>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9" name="Freeform: Shape 8">
            <a:extLst>
              <a:ext uri="{FF2B5EF4-FFF2-40B4-BE49-F238E27FC236}">
                <a16:creationId xmlns:a16="http://schemas.microsoft.com/office/drawing/2014/main" id="{F53AAF41-685F-442A-89E4-4C78D2C30126}"/>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a:t>Clearly communicate your strategy to your makers</a:t>
            </a:r>
            <a:endParaRPr lang="en-US"/>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Default</a:t>
            </a:r>
            <a:r>
              <a:rPr lang="en-US" sz="1175">
                <a:solidFill>
                  <a:srgbClr val="3C3C41"/>
                </a:solidFill>
                <a:latin typeface="Segoe UI"/>
              </a:rPr>
              <a:t>, </a:t>
            </a:r>
            <a:r>
              <a:rPr lang="en-US" sz="1175" b="1">
                <a:solidFill>
                  <a:srgbClr val="3C3C41"/>
                </a:solidFill>
                <a:latin typeface="Segoe UI"/>
              </a:rPr>
              <a:t>shared</a:t>
            </a:r>
            <a:r>
              <a:rPr lang="en-US" sz="1175">
                <a:solidFill>
                  <a:srgbClr val="3C3C41"/>
                </a:solidFill>
                <a:latin typeface="Segoe UI"/>
              </a:rPr>
              <a:t> team and employee productivity environments</a:t>
            </a:r>
            <a:endParaRPr lang="en-US" sz="1200">
              <a:solidFill>
                <a:srgbClr val="3C3C41"/>
              </a:solidFill>
              <a:latin typeface="Segoe UI"/>
            </a:endParaRPr>
          </a:p>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Trial</a:t>
            </a:r>
            <a:r>
              <a:rPr lang="en-US" sz="1175">
                <a:solidFill>
                  <a:srgbClr val="3C3C41"/>
                </a:solidFill>
                <a:latin typeface="Segoe UI"/>
              </a:rPr>
              <a:t> and </a:t>
            </a:r>
            <a:r>
              <a:rPr lang="en-US" sz="1175" b="1">
                <a:solidFill>
                  <a:srgbClr val="3C3C41"/>
                </a:solidFill>
                <a:latin typeface="Segoe UI"/>
              </a:rPr>
              <a:t>Developer</a:t>
            </a:r>
            <a:r>
              <a:rPr lang="en-US" sz="1175">
                <a:solidFill>
                  <a:srgbClr val="3C3C41"/>
                </a:solidFill>
                <a:latin typeface="Segoe UI"/>
              </a:rPr>
              <a:t> environments</a:t>
            </a:r>
          </a:p>
          <a:p>
            <a:pPr>
              <a:spcBef>
                <a:spcPts val="900"/>
              </a:spcBef>
              <a:spcAft>
                <a:spcPts val="900"/>
              </a:spcAft>
            </a:pPr>
            <a:r>
              <a:rPr lang="en-US" sz="1175">
                <a:solidFill>
                  <a:srgbClr val="3C3C41"/>
                </a:solidFill>
                <a:latin typeface="Segoe UI"/>
              </a:rPr>
              <a:t>Process of requesting </a:t>
            </a:r>
            <a:r>
              <a:rPr lang="en-US" sz="1175" b="1">
                <a:solidFill>
                  <a:srgbClr val="3C3C41"/>
                </a:solidFill>
                <a:latin typeface="Segoe UI"/>
              </a:rPr>
              <a:t>custom</a:t>
            </a:r>
            <a:r>
              <a:rPr lang="en-US" sz="1175">
                <a:solidFill>
                  <a:srgbClr val="3C3C41"/>
                </a:solidFill>
                <a:latin typeface="Segoe UI"/>
              </a:rPr>
              <a:t> environments</a:t>
            </a:r>
          </a:p>
          <a:p>
            <a:pPr>
              <a:spcBef>
                <a:spcPts val="900"/>
              </a:spcBef>
              <a:spcAft>
                <a:spcPts val="900"/>
              </a:spcAft>
            </a:pPr>
            <a:r>
              <a:rPr lang="en-US" sz="1175" b="1">
                <a:solidFill>
                  <a:srgbClr val="3C3C41"/>
                </a:solidFill>
                <a:latin typeface="Segoe UI"/>
              </a:rPr>
              <a:t>Responsibilities</a:t>
            </a:r>
            <a:r>
              <a:rPr lang="en-US" sz="1175">
                <a:solidFill>
                  <a:srgbClr val="3C3C41"/>
                </a:solidFill>
                <a:latin typeface="Segoe UI"/>
              </a:rPr>
              <a:t> of a maker:  keep the tenant tidy, share wisely and protect organization data</a:t>
            </a:r>
          </a:p>
        </p:txBody>
      </p:sp>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44648" y="1275566"/>
            <a:ext cx="324000" cy="324000"/>
          </a:xfrm>
          <a:prstGeom prst="rect">
            <a:avLst/>
          </a:prstGeom>
        </p:spPr>
      </p:pic>
      <p:pic>
        <p:nvPicPr>
          <p:cNvPr id="10" name="Picture 9">
            <a:extLst>
              <a:ext uri="{FF2B5EF4-FFF2-40B4-BE49-F238E27FC236}">
                <a16:creationId xmlns:a16="http://schemas.microsoft.com/office/drawing/2014/main" id="{6C41649E-FB39-42BD-97FD-5AF07CB2FBE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6451" y="1285217"/>
            <a:ext cx="4344614" cy="2353333"/>
          </a:xfrm>
          <a:prstGeom prst="rect">
            <a:avLst/>
          </a:prstGeom>
        </p:spPr>
      </p:pic>
      <p:pic>
        <p:nvPicPr>
          <p:cNvPr id="12" name="Graphic 11" descr="Cycle with people">
            <a:extLst>
              <a:ext uri="{FF2B5EF4-FFF2-40B4-BE49-F238E27FC236}">
                <a16:creationId xmlns:a16="http://schemas.microsoft.com/office/drawing/2014/main" id="{57C69B1E-7730-459A-8D58-0729478D4FA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876529"/>
            <a:ext cx="324000" cy="324000"/>
          </a:xfrm>
          <a:prstGeom prst="rect">
            <a:avLst/>
          </a:prstGeom>
        </p:spPr>
      </p:pic>
      <p:pic>
        <p:nvPicPr>
          <p:cNvPr id="17" name="Graphic 16" descr="Alterations &amp; Tailoring">
            <a:extLst>
              <a:ext uri="{FF2B5EF4-FFF2-40B4-BE49-F238E27FC236}">
                <a16:creationId xmlns:a16="http://schemas.microsoft.com/office/drawing/2014/main" id="{995CA915-D08C-4D1C-B695-42BE80635E0D}"/>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2461883"/>
            <a:ext cx="324000" cy="324000"/>
          </a:xfrm>
          <a:prstGeom prst="rect">
            <a:avLst/>
          </a:prstGeom>
        </p:spPr>
      </p:pic>
      <p:pic>
        <p:nvPicPr>
          <p:cNvPr id="22" name="Graphic 21" descr="Clipboard Checked">
            <a:extLst>
              <a:ext uri="{FF2B5EF4-FFF2-40B4-BE49-F238E27FC236}">
                <a16:creationId xmlns:a16="http://schemas.microsoft.com/office/drawing/2014/main" id="{01443296-E76B-4DA2-85CB-A2DF28582A4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54670" y="3033799"/>
            <a:ext cx="324000" cy="324000"/>
          </a:xfrm>
          <a:prstGeom prst="rect">
            <a:avLst/>
          </a:prstGeom>
        </p:spPr>
      </p:pic>
    </p:spTree>
    <p:extLst>
      <p:ext uri="{BB962C8B-B14F-4D97-AF65-F5344CB8AC3E}">
        <p14:creationId xmlns:p14="http://schemas.microsoft.com/office/powerpoint/2010/main" val="41753295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680DB-4133-4A6B-949F-F171398A9AA1}"/>
              </a:ext>
            </a:extLst>
          </p:cNvPr>
          <p:cNvGrpSpPr/>
          <p:nvPr/>
        </p:nvGrpSpPr>
        <p:grpSpPr>
          <a:xfrm>
            <a:off x="349194" y="1449362"/>
            <a:ext cx="8429701" cy="880894"/>
            <a:chOff x="474928" y="1970738"/>
            <a:chExt cx="11219346" cy="1198077"/>
          </a:xfrm>
        </p:grpSpPr>
        <p:sp>
          <p:nvSpPr>
            <p:cNvPr id="6" name="Rectangle 5">
              <a:extLst>
                <a:ext uri="{FF2B5EF4-FFF2-40B4-BE49-F238E27FC236}">
                  <a16:creationId xmlns:a16="http://schemas.microsoft.com/office/drawing/2014/main" id="{EF103F9D-F4F9-4125-BF02-87E4937292EF}"/>
                </a:ext>
              </a:extLst>
            </p:cNvPr>
            <p:cNvSpPr/>
            <p:nvPr/>
          </p:nvSpPr>
          <p:spPr bwMode="auto">
            <a:xfrm>
              <a:off x="579438"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riangle 19">
              <a:extLst>
                <a:ext uri="{FF2B5EF4-FFF2-40B4-BE49-F238E27FC236}">
                  <a16:creationId xmlns:a16="http://schemas.microsoft.com/office/drawing/2014/main" id="{993118EE-0E57-492C-BDA5-908C193E7E07}"/>
                </a:ext>
              </a:extLst>
            </p:cNvPr>
            <p:cNvSpPr/>
            <p:nvPr/>
          </p:nvSpPr>
          <p:spPr bwMode="auto">
            <a:xfrm>
              <a:off x="580303" y="1970738"/>
              <a:ext cx="11048989" cy="843624"/>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chemeClr val="accent3">
                <a:lumMod val="60000"/>
                <a:lumOff val="4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61DE4D68-E916-4047-B4F2-B9E3DA84B8FB}"/>
                </a:ext>
              </a:extLst>
            </p:cNvPr>
            <p:cNvSpPr/>
            <p:nvPr/>
          </p:nvSpPr>
          <p:spPr bwMode="auto">
            <a:xfrm>
              <a:off x="10332903"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3A20BCD-F77E-4685-9308-3BF2D79E94C2}"/>
                </a:ext>
              </a:extLst>
            </p:cNvPr>
            <p:cNvSpPr/>
            <p:nvPr/>
          </p:nvSpPr>
          <p:spPr bwMode="auto">
            <a:xfrm flipV="1">
              <a:off x="579438" y="2791942"/>
              <a:ext cx="9783762" cy="11537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11C8FAE3-B2D0-4901-A374-B4A8583EF61E}"/>
                </a:ext>
              </a:extLst>
            </p:cNvPr>
            <p:cNvSpPr txBox="1"/>
            <p:nvPr/>
          </p:nvSpPr>
          <p:spPr>
            <a:xfrm>
              <a:off x="592281" y="2713027"/>
              <a:ext cx="1275378" cy="455788"/>
            </a:xfrm>
            <a:prstGeom prst="rect">
              <a:avLst/>
            </a:prstGeom>
            <a:noFill/>
          </p:spPr>
          <p:txBody>
            <a:bodyPr wrap="squar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CITIZEN DEV   </a:t>
              </a:r>
            </a:p>
          </p:txBody>
        </p:sp>
        <p:sp>
          <p:nvSpPr>
            <p:cNvPr id="21" name="TextBox 20">
              <a:extLst>
                <a:ext uri="{FF2B5EF4-FFF2-40B4-BE49-F238E27FC236}">
                  <a16:creationId xmlns:a16="http://schemas.microsoft.com/office/drawing/2014/main" id="{415A8E9E-BF61-446E-98A6-EEB631D8C285}"/>
                </a:ext>
              </a:extLst>
            </p:cNvPr>
            <p:cNvSpPr txBox="1"/>
            <p:nvPr/>
          </p:nvSpPr>
          <p:spPr>
            <a:xfrm>
              <a:off x="10448426" y="2712959"/>
              <a:ext cx="9730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PRO DEV</a:t>
              </a:r>
            </a:p>
          </p:txBody>
        </p:sp>
        <p:sp>
          <p:nvSpPr>
            <p:cNvPr id="22" name="TextBox 21">
              <a:extLst>
                <a:ext uri="{FF2B5EF4-FFF2-40B4-BE49-F238E27FC236}">
                  <a16:creationId xmlns:a16="http://schemas.microsoft.com/office/drawing/2014/main" id="{9E2D28AC-DF68-43F9-9745-C118ACEC440E}"/>
                </a:ext>
              </a:extLst>
            </p:cNvPr>
            <p:cNvSpPr txBox="1"/>
            <p:nvPr/>
          </p:nvSpPr>
          <p:spPr>
            <a:xfrm>
              <a:off x="474928" y="2461063"/>
              <a:ext cx="697806"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Basic</a:t>
              </a:r>
            </a:p>
          </p:txBody>
        </p:sp>
        <p:sp>
          <p:nvSpPr>
            <p:cNvPr id="23" name="TextBox 22">
              <a:extLst>
                <a:ext uri="{FF2B5EF4-FFF2-40B4-BE49-F238E27FC236}">
                  <a16:creationId xmlns:a16="http://schemas.microsoft.com/office/drawing/2014/main" id="{2CC646DE-AD1C-477C-9649-596D8419FED9}"/>
                </a:ext>
              </a:extLst>
            </p:cNvPr>
            <p:cNvSpPr txBox="1"/>
            <p:nvPr/>
          </p:nvSpPr>
          <p:spPr>
            <a:xfrm>
              <a:off x="10740451" y="2439773"/>
              <a:ext cx="9538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Complex</a:t>
              </a:r>
            </a:p>
          </p:txBody>
        </p:sp>
      </p:grpSp>
      <p:sp>
        <p:nvSpPr>
          <p:cNvPr id="31" name="Rectangle 30">
            <a:extLst>
              <a:ext uri="{FF2B5EF4-FFF2-40B4-BE49-F238E27FC236}">
                <a16:creationId xmlns:a16="http://schemas.microsoft.com/office/drawing/2014/main" id="{F0AF870B-1ADB-4199-BBA2-B797E39E27EE}"/>
              </a:ext>
            </a:extLst>
          </p:cNvPr>
          <p:cNvSpPr/>
          <p:nvPr/>
        </p:nvSpPr>
        <p:spPr bwMode="auto">
          <a:xfrm>
            <a:off x="1" y="2350234"/>
            <a:ext cx="9144000" cy="55417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IN" sz="1765" dirty="0" err="1">
              <a:solidFill>
                <a:srgbClr val="070D13"/>
              </a:solidFill>
              <a:latin typeface="Segoe UI"/>
              <a:ea typeface="Segoe UI" pitchFamily="34" charset="0"/>
              <a:cs typeface="Segoe UI" pitchFamily="34" charset="0"/>
            </a:endParaRPr>
          </a:p>
        </p:txBody>
      </p:sp>
      <p:sp>
        <p:nvSpPr>
          <p:cNvPr id="12" name="people_23" title="Icon of a person with a chat bubble above them">
            <a:extLst>
              <a:ext uri="{FF2B5EF4-FFF2-40B4-BE49-F238E27FC236}">
                <a16:creationId xmlns:a16="http://schemas.microsoft.com/office/drawing/2014/main" id="{74477C29-0AE8-4AD7-9E4E-BDEFB3BAEE4E}"/>
              </a:ext>
            </a:extLst>
          </p:cNvPr>
          <p:cNvSpPr>
            <a:spLocks noChangeAspect="1" noEditPoints="1"/>
          </p:cNvSpPr>
          <p:nvPr/>
        </p:nvSpPr>
        <p:spPr bwMode="auto">
          <a:xfrm>
            <a:off x="1504268" y="1498002"/>
            <a:ext cx="427415" cy="42289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8" name="Text Placeholder 7">
            <a:extLst>
              <a:ext uri="{FF2B5EF4-FFF2-40B4-BE49-F238E27FC236}">
                <a16:creationId xmlns:a16="http://schemas.microsoft.com/office/drawing/2014/main" id="{60547239-756E-4358-8B64-93E777C0D944}"/>
              </a:ext>
            </a:extLst>
          </p:cNvPr>
          <p:cNvSpPr txBox="1">
            <a:spLocks/>
          </p:cNvSpPr>
          <p:nvPr/>
        </p:nvSpPr>
        <p:spPr>
          <a:xfrm>
            <a:off x="375142"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ea typeface="Segoe UI" pitchFamily="34" charset="0"/>
                <a:cs typeface="Segoe UI Semibold" panose="020B0702040204020203" pitchFamily="34" charset="0"/>
              </a:rPr>
              <a:t>Intuitive to use &amp; easy to learn for Citizen Developer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Build apps fast with a point-and-click approach to app design. Choose from a large selection of templates or start from a blank canva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Easily connect your app to data and use Excel-like expressions to easily</a:t>
            </a:r>
            <a:br>
              <a:rPr lang="en-GB" sz="1176" dirty="0">
                <a:solidFill>
                  <a:srgbClr val="282828"/>
                </a:solidFill>
                <a:latin typeface="Segoe UI"/>
                <a:ea typeface="Segoe UI" pitchFamily="34" charset="0"/>
                <a:cs typeface="Segoe UI Light" panose="020B0502040204020203" pitchFamily="34" charset="0"/>
              </a:rPr>
            </a:br>
            <a:r>
              <a:rPr lang="en-GB" sz="1176" dirty="0">
                <a:solidFill>
                  <a:srgbClr val="282828"/>
                </a:solidFill>
                <a:latin typeface="Segoe UI"/>
                <a:ea typeface="Segoe UI" pitchFamily="34" charset="0"/>
                <a:cs typeface="Segoe UI Light" panose="020B0502040204020203" pitchFamily="34" charset="0"/>
              </a:rPr>
              <a:t>add logic</a:t>
            </a:r>
          </a:p>
        </p:txBody>
      </p:sp>
      <p:sp>
        <p:nvSpPr>
          <p:cNvPr id="11" name="Text Placeholder 11">
            <a:extLst>
              <a:ext uri="{FF2B5EF4-FFF2-40B4-BE49-F238E27FC236}">
                <a16:creationId xmlns:a16="http://schemas.microsoft.com/office/drawing/2014/main" id="{9CCD01A9-EEE8-416C-A466-D40FEC5D1A91}"/>
              </a:ext>
            </a:extLst>
          </p:cNvPr>
          <p:cNvSpPr txBox="1">
            <a:spLocks/>
          </p:cNvSpPr>
          <p:nvPr/>
        </p:nvSpPr>
        <p:spPr>
          <a:xfrm>
            <a:off x="3203721"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One admin </a:t>
            </a:r>
            <a:r>
              <a:rPr lang="en-GB" sz="1471" dirty="0" err="1">
                <a:solidFill>
                  <a:srgbClr val="742774"/>
                </a:solidFill>
                <a:latin typeface="Segoe UI Semibold"/>
                <a:cs typeface="Segoe UI Semibold" panose="020B0702040204020203" pitchFamily="34" charset="0"/>
              </a:rPr>
              <a:t>center</a:t>
            </a:r>
            <a:r>
              <a:rPr lang="en-GB" sz="1471" dirty="0">
                <a:solidFill>
                  <a:srgbClr val="742774"/>
                </a:solidFill>
                <a:latin typeface="Segoe UI Semibold"/>
                <a:cs typeface="Segoe UI Semibold" panose="020B0702040204020203" pitchFamily="34" charset="0"/>
              </a:rPr>
              <a:t> to rule them all for IT Administrator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No compromises on governance and security. One centralized view and management of all your 1 &amp; 3</a:t>
            </a:r>
            <a:r>
              <a:rPr lang="en-GB" sz="1176" baseline="30000" dirty="0">
                <a:solidFill>
                  <a:srgbClr val="282828"/>
                </a:solidFill>
                <a:latin typeface="Segoe UI"/>
                <a:cs typeface="Segoe UI Light" panose="020B0502040204020203" pitchFamily="34" charset="0"/>
              </a:rPr>
              <a:t>rd</a:t>
            </a:r>
            <a:r>
              <a:rPr lang="en-GB" sz="1176" dirty="0">
                <a:solidFill>
                  <a:srgbClr val="282828"/>
                </a:solidFill>
                <a:latin typeface="Segoe UI"/>
                <a:cs typeface="Segoe UI Light" panose="020B0502040204020203" pitchFamily="34" charset="0"/>
              </a:rPr>
              <a:t> party apps, eliminating shadow IT</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GDPR compliance, and enterprise grade security, consistent with</a:t>
            </a:r>
            <a:br>
              <a:rPr lang="en-GB" sz="1176" dirty="0">
                <a:solidFill>
                  <a:srgbClr val="282828"/>
                </a:solidFill>
                <a:latin typeface="Segoe UI"/>
                <a:cs typeface="Segoe UI Light" panose="020B0502040204020203" pitchFamily="34" charset="0"/>
              </a:rPr>
            </a:br>
            <a:r>
              <a:rPr lang="en-GB" sz="1176" dirty="0">
                <a:solidFill>
                  <a:srgbClr val="282828"/>
                </a:solidFill>
                <a:latin typeface="Segoe UI"/>
                <a:cs typeface="Segoe UI Light" panose="020B0502040204020203" pitchFamily="34" charset="0"/>
              </a:rPr>
              <a:t>the experience across O365 &amp; D365</a:t>
            </a:r>
          </a:p>
        </p:txBody>
      </p:sp>
      <p:sp>
        <p:nvSpPr>
          <p:cNvPr id="14" name="Text Placeholder 12">
            <a:extLst>
              <a:ext uri="{FF2B5EF4-FFF2-40B4-BE49-F238E27FC236}">
                <a16:creationId xmlns:a16="http://schemas.microsoft.com/office/drawing/2014/main" id="{F8CD5BB0-82AD-4580-A3E8-4193ABE435EF}"/>
              </a:ext>
            </a:extLst>
          </p:cNvPr>
          <p:cNvSpPr txBox="1">
            <a:spLocks/>
          </p:cNvSpPr>
          <p:nvPr/>
        </p:nvSpPr>
        <p:spPr>
          <a:xfrm>
            <a:off x="6032300"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World class Pro Developer support and ALM</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Experience the full range of development and ALM functionality with rich pro developer tools like Visual Studio and DevOp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Reuse your current IP and skills </a:t>
            </a:r>
            <a:r>
              <a:rPr lang="en-GB" sz="1176" dirty="0">
                <a:solidFill>
                  <a:srgbClr val="282828"/>
                </a:solidFill>
                <a:latin typeface="Arial" panose="020B0604020202020204" pitchFamily="34" charset="0"/>
                <a:cs typeface="Arial" panose="020B0604020202020204" pitchFamily="34" charset="0"/>
              </a:rPr>
              <a:t>–</a:t>
            </a:r>
            <a:r>
              <a:rPr lang="en-GB" sz="1176" dirty="0">
                <a:solidFill>
                  <a:srgbClr val="282828"/>
                </a:solidFill>
                <a:latin typeface="Segoe UI"/>
                <a:cs typeface="Segoe UI Light" panose="020B0502040204020203" pitchFamily="34" charset="0"/>
              </a:rPr>
              <a:t> Power Apps component framework, CLI and VS Code create instant value for the business</a:t>
            </a:r>
          </a:p>
        </p:txBody>
      </p:sp>
      <p:grpSp>
        <p:nvGrpSpPr>
          <p:cNvPr id="15" name="Group 14">
            <a:extLst>
              <a:ext uri="{FF2B5EF4-FFF2-40B4-BE49-F238E27FC236}">
                <a16:creationId xmlns:a16="http://schemas.microsoft.com/office/drawing/2014/main" id="{680AE215-255C-43DE-B941-CD3E213525FD}"/>
              </a:ext>
            </a:extLst>
          </p:cNvPr>
          <p:cNvGrpSpPr/>
          <p:nvPr/>
        </p:nvGrpSpPr>
        <p:grpSpPr>
          <a:xfrm>
            <a:off x="7105355" y="1495224"/>
            <a:ext cx="539556" cy="425670"/>
            <a:chOff x="9497209" y="2046247"/>
            <a:chExt cx="785573" cy="619760"/>
          </a:xfrm>
        </p:grpSpPr>
        <p:sp>
          <p:nvSpPr>
            <p:cNvPr id="16" name="Telemarketer_E7B9" title="Icon of a person wearing a headset">
              <a:extLst>
                <a:ext uri="{FF2B5EF4-FFF2-40B4-BE49-F238E27FC236}">
                  <a16:creationId xmlns:a16="http://schemas.microsoft.com/office/drawing/2014/main" id="{458B1CCC-A249-4953-A771-56C619ECFFED}"/>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17" name="globe_2" title="Icon of a sphere made of lines">
              <a:extLst>
                <a:ext uri="{FF2B5EF4-FFF2-40B4-BE49-F238E27FC236}">
                  <a16:creationId xmlns:a16="http://schemas.microsoft.com/office/drawing/2014/main" id="{7A6716D0-9081-43E0-9BF2-441F32433E41}"/>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662">
                <a:solidFill>
                  <a:srgbClr val="FFFFFF"/>
                </a:solidFill>
                <a:latin typeface="Segoe UI"/>
              </a:endParaRPr>
            </a:p>
          </p:txBody>
        </p:sp>
      </p:grpSp>
      <p:sp>
        <p:nvSpPr>
          <p:cNvPr id="2" name="Title 1">
            <a:extLst>
              <a:ext uri="{FF2B5EF4-FFF2-40B4-BE49-F238E27FC236}">
                <a16:creationId xmlns:a16="http://schemas.microsoft.com/office/drawing/2014/main" id="{786E0572-D26F-42A5-A586-C1F5BA9BF6DE}"/>
              </a:ext>
            </a:extLst>
          </p:cNvPr>
          <p:cNvSpPr>
            <a:spLocks noGrp="1"/>
          </p:cNvSpPr>
          <p:nvPr>
            <p:ph type="title"/>
          </p:nvPr>
        </p:nvSpPr>
        <p:spPr/>
        <p:txBody>
          <a:bodyPr/>
          <a:lstStyle/>
          <a:p>
            <a:r>
              <a:rPr lang="en-US" dirty="0"/>
              <a:t>A platform for all makers</a:t>
            </a:r>
          </a:p>
        </p:txBody>
      </p:sp>
      <p:sp>
        <p:nvSpPr>
          <p:cNvPr id="27" name="Text Placeholder 2">
            <a:extLst>
              <a:ext uri="{FF2B5EF4-FFF2-40B4-BE49-F238E27FC236}">
                <a16:creationId xmlns:a16="http://schemas.microsoft.com/office/drawing/2014/main" id="{93C96E42-8A0E-4489-97F4-D0A9ED252C69}"/>
              </a:ext>
            </a:extLst>
          </p:cNvPr>
          <p:cNvSpPr txBox="1">
            <a:spLocks/>
          </p:cNvSpPr>
          <p:nvPr/>
        </p:nvSpPr>
        <p:spPr>
          <a:xfrm>
            <a:off x="426036" y="933162"/>
            <a:ext cx="8291930" cy="26852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334">
              <a:lnSpc>
                <a:spcPct val="100000"/>
              </a:lnSpc>
              <a:defRPr/>
            </a:pPr>
            <a:r>
              <a:rPr lang="en-US" sz="1471" dirty="0">
                <a:solidFill>
                  <a:srgbClr val="282828"/>
                </a:solidFill>
                <a:latin typeface="Segoe UI"/>
                <a:cs typeface="Segoe UI Light" panose="020B0502040204020203" pitchFamily="34" charset="0"/>
              </a:rPr>
              <a:t>Citizen Developer, IT Administrator, Professional Developer, App Wizard. We’ve got you</a:t>
            </a:r>
          </a:p>
        </p:txBody>
      </p:sp>
      <p:grpSp>
        <p:nvGrpSpPr>
          <p:cNvPr id="49" name="Group 48">
            <a:extLst>
              <a:ext uri="{FF2B5EF4-FFF2-40B4-BE49-F238E27FC236}">
                <a16:creationId xmlns:a16="http://schemas.microsoft.com/office/drawing/2014/main" id="{20713B9A-9228-4A99-A937-DAA02383CBA0}"/>
              </a:ext>
            </a:extLst>
          </p:cNvPr>
          <p:cNvGrpSpPr/>
          <p:nvPr/>
        </p:nvGrpSpPr>
        <p:grpSpPr>
          <a:xfrm>
            <a:off x="4307274" y="1452123"/>
            <a:ext cx="478561" cy="514649"/>
            <a:chOff x="5024074" y="3333704"/>
            <a:chExt cx="290512" cy="312420"/>
          </a:xfrm>
        </p:grpSpPr>
        <p:sp>
          <p:nvSpPr>
            <p:cNvPr id="50" name="Freeform: Shape 49">
              <a:extLst>
                <a:ext uri="{FF2B5EF4-FFF2-40B4-BE49-F238E27FC236}">
                  <a16:creationId xmlns:a16="http://schemas.microsoft.com/office/drawing/2014/main" id="{6DB5E1C7-8A94-414C-8064-F6D4CD838762}"/>
                </a:ext>
              </a:extLst>
            </p:cNvPr>
            <p:cNvSpPr/>
            <p:nvPr/>
          </p:nvSpPr>
          <p:spPr>
            <a:xfrm>
              <a:off x="5024074" y="3541349"/>
              <a:ext cx="85725" cy="95250"/>
            </a:xfrm>
            <a:custGeom>
              <a:avLst/>
              <a:gdLst>
                <a:gd name="connsiteX0" fmla="*/ 21636 w 85725"/>
                <a:gd name="connsiteY0" fmla="*/ 32113 h 95250"/>
                <a:gd name="connsiteX1" fmla="*/ 45448 w 85725"/>
                <a:gd name="connsiteY1" fmla="*/ 7348 h 95250"/>
                <a:gd name="connsiteX2" fmla="*/ 69261 w 85725"/>
                <a:gd name="connsiteY2" fmla="*/ 32113 h 95250"/>
                <a:gd name="connsiteX3" fmla="*/ 45448 w 85725"/>
                <a:gd name="connsiteY3" fmla="*/ 56878 h 95250"/>
                <a:gd name="connsiteX4" fmla="*/ 21636 w 85725"/>
                <a:gd name="connsiteY4" fmla="*/ 32113 h 95250"/>
                <a:gd name="connsiteX5" fmla="*/ 21636 w 85725"/>
                <a:gd name="connsiteY5" fmla="*/ 32113 h 95250"/>
                <a:gd name="connsiteX6" fmla="*/ 21636 w 85725"/>
                <a:gd name="connsiteY6" fmla="*/ 32113 h 95250"/>
                <a:gd name="connsiteX7" fmla="*/ 21636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2113"/>
                  </a:moveTo>
                  <a:cubicBezTo>
                    <a:pt x="21636" y="17826"/>
                    <a:pt x="32113" y="7348"/>
                    <a:pt x="45448" y="7348"/>
                  </a:cubicBezTo>
                  <a:cubicBezTo>
                    <a:pt x="58783" y="7348"/>
                    <a:pt x="69261" y="18778"/>
                    <a:pt x="69261" y="32113"/>
                  </a:cubicBezTo>
                  <a:cubicBezTo>
                    <a:pt x="69261" y="46401"/>
                    <a:pt x="58783" y="56878"/>
                    <a:pt x="45448" y="56878"/>
                  </a:cubicBezTo>
                  <a:cubicBezTo>
                    <a:pt x="32113" y="56878"/>
                    <a:pt x="21636" y="46401"/>
                    <a:pt x="21636" y="32113"/>
                  </a:cubicBezTo>
                  <a:lnTo>
                    <a:pt x="21636" y="32113"/>
                  </a:lnTo>
                  <a:lnTo>
                    <a:pt x="21636" y="32113"/>
                  </a:lnTo>
                  <a:lnTo>
                    <a:pt x="21636"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1FC47105-52AA-4BC2-874F-1D2A6FBBEFF8}"/>
                </a:ext>
              </a:extLst>
            </p:cNvPr>
            <p:cNvSpPr/>
            <p:nvPr/>
          </p:nvSpPr>
          <p:spPr>
            <a:xfrm>
              <a:off x="5228861" y="3541349"/>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36D5406B-71FC-41C1-B382-66B1E99822BA}"/>
                </a:ext>
              </a:extLst>
            </p:cNvPr>
            <p:cNvSpPr/>
            <p:nvPr/>
          </p:nvSpPr>
          <p:spPr>
            <a:xfrm>
              <a:off x="5127896" y="3333704"/>
              <a:ext cx="85725" cy="95250"/>
            </a:xfrm>
            <a:custGeom>
              <a:avLst/>
              <a:gdLst>
                <a:gd name="connsiteX0" fmla="*/ 21636 w 85725"/>
                <a:gd name="connsiteY0" fmla="*/ 31161 h 95250"/>
                <a:gd name="connsiteX1" fmla="*/ 45448 w 85725"/>
                <a:gd name="connsiteY1" fmla="*/ 7348 h 95250"/>
                <a:gd name="connsiteX2" fmla="*/ 69261 w 85725"/>
                <a:gd name="connsiteY2" fmla="*/ 31161 h 95250"/>
                <a:gd name="connsiteX3" fmla="*/ 45448 w 85725"/>
                <a:gd name="connsiteY3" fmla="*/ 54973 h 95250"/>
                <a:gd name="connsiteX4" fmla="*/ 21636 w 85725"/>
                <a:gd name="connsiteY4" fmla="*/ 31161 h 95250"/>
                <a:gd name="connsiteX5" fmla="*/ 21636 w 85725"/>
                <a:gd name="connsiteY5" fmla="*/ 31161 h 95250"/>
                <a:gd name="connsiteX6" fmla="*/ 21636 w 85725"/>
                <a:gd name="connsiteY6" fmla="*/ 31161 h 95250"/>
                <a:gd name="connsiteX7" fmla="*/ 21636 w 85725"/>
                <a:gd name="connsiteY7" fmla="*/ 31161 h 95250"/>
                <a:gd name="connsiteX8" fmla="*/ 83548 w 85725"/>
                <a:gd name="connsiteY8" fmla="*/ 94026 h 95250"/>
                <a:gd name="connsiteX9" fmla="*/ 45448 w 85725"/>
                <a:gd name="connsiteY9" fmla="*/ 54973 h 95250"/>
                <a:gd name="connsiteX10" fmla="*/ 7348 w 85725"/>
                <a:gd name="connsiteY10" fmla="*/ 9402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1161"/>
                  </a:moveTo>
                  <a:cubicBezTo>
                    <a:pt x="21636" y="17826"/>
                    <a:pt x="32113" y="7348"/>
                    <a:pt x="45448" y="7348"/>
                  </a:cubicBezTo>
                  <a:cubicBezTo>
                    <a:pt x="58783" y="7348"/>
                    <a:pt x="69261" y="17826"/>
                    <a:pt x="69261" y="31161"/>
                  </a:cubicBezTo>
                  <a:cubicBezTo>
                    <a:pt x="69261" y="44496"/>
                    <a:pt x="58783" y="54973"/>
                    <a:pt x="45448" y="54973"/>
                  </a:cubicBezTo>
                  <a:cubicBezTo>
                    <a:pt x="32113" y="54973"/>
                    <a:pt x="21636" y="44496"/>
                    <a:pt x="21636" y="31161"/>
                  </a:cubicBezTo>
                  <a:lnTo>
                    <a:pt x="21636" y="31161"/>
                  </a:lnTo>
                  <a:lnTo>
                    <a:pt x="21636" y="31161"/>
                  </a:lnTo>
                  <a:lnTo>
                    <a:pt x="21636" y="31161"/>
                  </a:lnTo>
                  <a:close/>
                  <a:moveTo>
                    <a:pt x="83548" y="94026"/>
                  </a:moveTo>
                  <a:cubicBezTo>
                    <a:pt x="83548" y="73071"/>
                    <a:pt x="66403" y="54973"/>
                    <a:pt x="45448" y="54973"/>
                  </a:cubicBezTo>
                  <a:cubicBezTo>
                    <a:pt x="24493" y="54973"/>
                    <a:pt x="7348" y="73071"/>
                    <a:pt x="7348" y="94026"/>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16B5DE42-53D0-4060-8B6F-84CD717BFE53}"/>
                </a:ext>
              </a:extLst>
            </p:cNvPr>
            <p:cNvSpPr/>
            <p:nvPr/>
          </p:nvSpPr>
          <p:spPr>
            <a:xfrm>
              <a:off x="5045981" y="3398474"/>
              <a:ext cx="247650" cy="247650"/>
            </a:xfrm>
            <a:custGeom>
              <a:avLst/>
              <a:gdLst>
                <a:gd name="connsiteX0" fmla="*/ 11158 w 247650"/>
                <a:gd name="connsiteY0" fmla="*/ 153081 h 247650"/>
                <a:gd name="connsiteX1" fmla="*/ 7348 w 247650"/>
                <a:gd name="connsiteY1" fmla="*/ 122601 h 247650"/>
                <a:gd name="connsiteX2" fmla="*/ 7348 w 247650"/>
                <a:gd name="connsiteY2" fmla="*/ 122601 h 247650"/>
                <a:gd name="connsiteX3" fmla="*/ 93073 w 247650"/>
                <a:gd name="connsiteY3" fmla="*/ 7348 h 247650"/>
                <a:gd name="connsiteX4" fmla="*/ 56878 w 247650"/>
                <a:gd name="connsiteY4" fmla="*/ 218803 h 247650"/>
                <a:gd name="connsiteX5" fmla="*/ 126411 w 247650"/>
                <a:gd name="connsiteY5" fmla="*/ 241663 h 247650"/>
                <a:gd name="connsiteX6" fmla="*/ 126411 w 247650"/>
                <a:gd name="connsiteY6" fmla="*/ 241663 h 247650"/>
                <a:gd name="connsiteX7" fmla="*/ 192133 w 247650"/>
                <a:gd name="connsiteY7" fmla="*/ 221661 h 247650"/>
                <a:gd name="connsiteX8" fmla="*/ 240711 w 247650"/>
                <a:gd name="connsiteY8" fmla="*/ 152128 h 247650"/>
                <a:gd name="connsiteX9" fmla="*/ 244521 w 247650"/>
                <a:gd name="connsiteY9" fmla="*/ 122601 h 247650"/>
                <a:gd name="connsiteX10" fmla="*/ 244521 w 247650"/>
                <a:gd name="connsiteY10" fmla="*/ 122601 h 247650"/>
                <a:gd name="connsiteX11" fmla="*/ 161653 w 247650"/>
                <a:gd name="connsiteY11" fmla="*/ 830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11158" y="153081"/>
                  </a:moveTo>
                  <a:cubicBezTo>
                    <a:pt x="8301" y="143556"/>
                    <a:pt x="7348" y="133078"/>
                    <a:pt x="7348" y="122601"/>
                  </a:cubicBezTo>
                  <a:lnTo>
                    <a:pt x="7348" y="122601"/>
                  </a:lnTo>
                  <a:cubicBezTo>
                    <a:pt x="7348" y="68308"/>
                    <a:pt x="43543" y="22588"/>
                    <a:pt x="93073" y="7348"/>
                  </a:cubicBezTo>
                  <a:moveTo>
                    <a:pt x="56878" y="218803"/>
                  </a:moveTo>
                  <a:cubicBezTo>
                    <a:pt x="75928" y="233091"/>
                    <a:pt x="99741" y="241663"/>
                    <a:pt x="126411" y="241663"/>
                  </a:cubicBezTo>
                  <a:lnTo>
                    <a:pt x="126411" y="241663"/>
                  </a:lnTo>
                  <a:cubicBezTo>
                    <a:pt x="151176" y="241663"/>
                    <a:pt x="174036" y="234043"/>
                    <a:pt x="192133" y="221661"/>
                  </a:cubicBezTo>
                  <a:moveTo>
                    <a:pt x="240711" y="152128"/>
                  </a:moveTo>
                  <a:cubicBezTo>
                    <a:pt x="242616" y="142603"/>
                    <a:pt x="244521" y="133078"/>
                    <a:pt x="244521" y="122601"/>
                  </a:cubicBezTo>
                  <a:lnTo>
                    <a:pt x="244521" y="122601"/>
                  </a:lnTo>
                  <a:cubicBezTo>
                    <a:pt x="244521" y="69261"/>
                    <a:pt x="210231" y="24493"/>
                    <a:pt x="161653" y="830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3EE29F4D-63DC-4221-896D-A009E145BEAC}"/>
                </a:ext>
              </a:extLst>
            </p:cNvPr>
            <p:cNvSpPr/>
            <p:nvPr/>
          </p:nvSpPr>
          <p:spPr>
            <a:xfrm>
              <a:off x="5126944" y="3443241"/>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8020CB91-A8B7-46EA-93E2-5C3DFEFE944F}"/>
                </a:ext>
              </a:extLst>
            </p:cNvPr>
            <p:cNvSpPr/>
            <p:nvPr/>
          </p:nvSpPr>
          <p:spPr>
            <a:xfrm>
              <a:off x="5112656" y="3526109"/>
              <a:ext cx="114300" cy="28575"/>
            </a:xfrm>
            <a:custGeom>
              <a:avLst/>
              <a:gdLst>
                <a:gd name="connsiteX0" fmla="*/ 99741 w 114300"/>
                <a:gd name="connsiteY0" fmla="*/ 7348 h 28575"/>
                <a:gd name="connsiteX1" fmla="*/ 114028 w 114300"/>
                <a:gd name="connsiteY1" fmla="*/ 15921 h 28575"/>
                <a:gd name="connsiteX2" fmla="*/ 60688 w 114300"/>
                <a:gd name="connsiteY2" fmla="*/ 29256 h 28575"/>
                <a:gd name="connsiteX3" fmla="*/ 7348 w 114300"/>
                <a:gd name="connsiteY3" fmla="*/ 15921 h 28575"/>
                <a:gd name="connsiteX4" fmla="*/ 20683 w 114300"/>
                <a:gd name="connsiteY4" fmla="*/ 734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8575">
                  <a:moveTo>
                    <a:pt x="99741" y="7348"/>
                  </a:moveTo>
                  <a:cubicBezTo>
                    <a:pt x="108313" y="9253"/>
                    <a:pt x="114028" y="12111"/>
                    <a:pt x="114028" y="15921"/>
                  </a:cubicBezTo>
                  <a:cubicBezTo>
                    <a:pt x="114028" y="22588"/>
                    <a:pt x="90216" y="29256"/>
                    <a:pt x="60688" y="29256"/>
                  </a:cubicBezTo>
                  <a:cubicBezTo>
                    <a:pt x="31161" y="29256"/>
                    <a:pt x="7348" y="23541"/>
                    <a:pt x="7348" y="15921"/>
                  </a:cubicBezTo>
                  <a:cubicBezTo>
                    <a:pt x="7348" y="13063"/>
                    <a:pt x="12111" y="10206"/>
                    <a:pt x="20683" y="7348"/>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grpSp>
      <p:grpSp>
        <p:nvGrpSpPr>
          <p:cNvPr id="60" name="Group 59">
            <a:extLst>
              <a:ext uri="{FF2B5EF4-FFF2-40B4-BE49-F238E27FC236}">
                <a16:creationId xmlns:a16="http://schemas.microsoft.com/office/drawing/2014/main" id="{5347C43D-6C2C-47B2-9BD5-0A5E34F2C911}"/>
              </a:ext>
            </a:extLst>
          </p:cNvPr>
          <p:cNvGrpSpPr/>
          <p:nvPr/>
        </p:nvGrpSpPr>
        <p:grpSpPr>
          <a:xfrm>
            <a:off x="3132265" y="2482085"/>
            <a:ext cx="0" cy="2046924"/>
            <a:chOff x="4260097" y="3375311"/>
            <a:chExt cx="0" cy="2783959"/>
          </a:xfrm>
        </p:grpSpPr>
        <p:cxnSp>
          <p:nvCxnSpPr>
            <p:cNvPr id="57" name="Straight Connector 56">
              <a:extLst>
                <a:ext uri="{FF2B5EF4-FFF2-40B4-BE49-F238E27FC236}">
                  <a16:creationId xmlns:a16="http://schemas.microsoft.com/office/drawing/2014/main" id="{0DF24942-7236-4C30-A7A9-6813A919F615}"/>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357B83E-5F3E-409C-9B8B-52CE6C83DE7A}"/>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E144D869-FA4B-4ABC-9D7D-A6EF3A9AAEF9}"/>
              </a:ext>
            </a:extLst>
          </p:cNvPr>
          <p:cNvGrpSpPr/>
          <p:nvPr/>
        </p:nvGrpSpPr>
        <p:grpSpPr>
          <a:xfrm>
            <a:off x="5960844" y="2482085"/>
            <a:ext cx="0" cy="2046924"/>
            <a:chOff x="4260097" y="3375311"/>
            <a:chExt cx="0" cy="2783959"/>
          </a:xfrm>
        </p:grpSpPr>
        <p:cxnSp>
          <p:nvCxnSpPr>
            <p:cNvPr id="62" name="Straight Connector 61">
              <a:extLst>
                <a:ext uri="{FF2B5EF4-FFF2-40B4-BE49-F238E27FC236}">
                  <a16:creationId xmlns:a16="http://schemas.microsoft.com/office/drawing/2014/main" id="{CBB3517A-3FCA-451A-8CB2-D0B9713B7376}"/>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3177F07-79F7-4A13-B341-9DE8E1AD3A2B}"/>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188779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624303" y="36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923330"/>
          </a:xfrm>
        </p:spPr>
        <p:txBody>
          <a:bodyPr/>
          <a:lstStyle/>
          <a:p>
            <a:r>
              <a:rPr lang="en-US">
                <a:solidFill>
                  <a:schemeClr val="bg1"/>
                </a:solidFill>
              </a:rPr>
              <a:t>Environment security and access control</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514971"/>
            <a:ext cx="9002876" cy="2628164"/>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FE99CB97-7B98-4EA4-B26F-0135A39F5685}"/>
              </a:ext>
            </a:extLst>
          </p:cNvPr>
          <p:cNvSpPr/>
          <p:nvPr/>
        </p:nvSpPr>
        <p:spPr bwMode="auto">
          <a:xfrm>
            <a:off x="3492823" y="621582"/>
            <a:ext cx="3182096" cy="149767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a:extLst>
              <a:ext uri="{FF2B5EF4-FFF2-40B4-BE49-F238E27FC236}">
                <a16:creationId xmlns:a16="http://schemas.microsoft.com/office/drawing/2014/main" id="{6FD3CAE2-E38C-47DD-A120-1161CBBFD1BC}"/>
              </a:ext>
            </a:extLst>
          </p:cNvPr>
          <p:cNvSpPr txBox="1"/>
          <p:nvPr/>
        </p:nvSpPr>
        <p:spPr>
          <a:xfrm>
            <a:off x="5109844" y="805877"/>
            <a:ext cx="1615712"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ironment Roles</a:t>
            </a:r>
          </a:p>
          <a:p>
            <a:pPr defTabSz="896364">
              <a:spcAft>
                <a:spcPts val="221"/>
              </a:spcAft>
            </a:pPr>
            <a:r>
              <a:rPr lang="en-US" sz="882">
                <a:solidFill>
                  <a:srgbClr val="3C3C41"/>
                </a:solidFill>
                <a:latin typeface="Segoe UI"/>
              </a:rPr>
              <a:t>(Maker/Admin)</a:t>
            </a:r>
            <a:endParaRPr lang="en-US" sz="1176">
              <a:solidFill>
                <a:srgbClr val="3C3C41"/>
              </a:solidFill>
              <a:latin typeface="Segoe UI"/>
            </a:endParaRPr>
          </a:p>
        </p:txBody>
      </p:sp>
      <p:sp>
        <p:nvSpPr>
          <p:cNvPr id="15" name="TextBox 14">
            <a:extLst>
              <a:ext uri="{FF2B5EF4-FFF2-40B4-BE49-F238E27FC236}">
                <a16:creationId xmlns:a16="http://schemas.microsoft.com/office/drawing/2014/main" id="{F07762C5-BEAE-4E5B-A947-27605F0C618A}"/>
              </a:ext>
            </a:extLst>
          </p:cNvPr>
          <p:cNvSpPr txBox="1"/>
          <p:nvPr/>
        </p:nvSpPr>
        <p:spPr>
          <a:xfrm>
            <a:off x="5109844" y="144027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6" name="Rectangle 5">
            <a:extLst>
              <a:ext uri="{FF2B5EF4-FFF2-40B4-BE49-F238E27FC236}">
                <a16:creationId xmlns:a16="http://schemas.microsoft.com/office/drawing/2014/main" id="{6C6B5AE9-F789-4EF9-8780-30BF0372A605}"/>
              </a:ext>
            </a:extLst>
          </p:cNvPr>
          <p:cNvSpPr/>
          <p:nvPr/>
        </p:nvSpPr>
        <p:spPr bwMode="auto">
          <a:xfrm>
            <a:off x="3601702" y="763873"/>
            <a:ext cx="1176557" cy="124784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C45066FD-618E-45BB-832A-C7FA14F63BAC}"/>
              </a:ext>
            </a:extLst>
          </p:cNvPr>
          <p:cNvSpPr/>
          <p:nvPr/>
        </p:nvSpPr>
        <p:spPr bwMode="auto">
          <a:xfrm>
            <a:off x="3666272" y="110927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8" name="Rectangle 7">
            <a:extLst>
              <a:ext uri="{FF2B5EF4-FFF2-40B4-BE49-F238E27FC236}">
                <a16:creationId xmlns:a16="http://schemas.microsoft.com/office/drawing/2014/main" id="{2D9BE973-A0FA-4502-9C30-528CB8DC2801}"/>
              </a:ext>
            </a:extLst>
          </p:cNvPr>
          <p:cNvSpPr/>
          <p:nvPr/>
        </p:nvSpPr>
        <p:spPr bwMode="auto">
          <a:xfrm>
            <a:off x="3666272" y="1389403"/>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9" name="Rectangle 8">
            <a:extLst>
              <a:ext uri="{FF2B5EF4-FFF2-40B4-BE49-F238E27FC236}">
                <a16:creationId xmlns:a16="http://schemas.microsoft.com/office/drawing/2014/main" id="{DCE9FE78-AA9A-4752-BD49-C37014485ED8}"/>
              </a:ext>
            </a:extLst>
          </p:cNvPr>
          <p:cNvSpPr/>
          <p:nvPr/>
        </p:nvSpPr>
        <p:spPr bwMode="auto">
          <a:xfrm>
            <a:off x="3666272" y="166953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11" name="TextBox 10">
            <a:extLst>
              <a:ext uri="{FF2B5EF4-FFF2-40B4-BE49-F238E27FC236}">
                <a16:creationId xmlns:a16="http://schemas.microsoft.com/office/drawing/2014/main" id="{99DAD179-141E-419D-92B7-DC41B1EE0C05}"/>
              </a:ext>
            </a:extLst>
          </p:cNvPr>
          <p:cNvSpPr txBox="1"/>
          <p:nvPr/>
        </p:nvSpPr>
        <p:spPr>
          <a:xfrm>
            <a:off x="3639330" y="81615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no CDS)</a:t>
            </a:r>
          </a:p>
        </p:txBody>
      </p:sp>
      <p:sp>
        <p:nvSpPr>
          <p:cNvPr id="16" name="Right Brace 15">
            <a:extLst>
              <a:ext uri="{FF2B5EF4-FFF2-40B4-BE49-F238E27FC236}">
                <a16:creationId xmlns:a16="http://schemas.microsoft.com/office/drawing/2014/main" id="{CC6FE6CA-4398-402B-8186-A1BA16127D53}"/>
              </a:ext>
            </a:extLst>
          </p:cNvPr>
          <p:cNvSpPr/>
          <p:nvPr/>
        </p:nvSpPr>
        <p:spPr>
          <a:xfrm>
            <a:off x="4610552" y="107775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22" name="Rectangle 21">
            <a:extLst>
              <a:ext uri="{FF2B5EF4-FFF2-40B4-BE49-F238E27FC236}">
                <a16:creationId xmlns:a16="http://schemas.microsoft.com/office/drawing/2014/main" id="{06CF32A8-49BD-4B74-820A-295FFF8200D0}"/>
              </a:ext>
            </a:extLst>
          </p:cNvPr>
          <p:cNvSpPr/>
          <p:nvPr/>
        </p:nvSpPr>
        <p:spPr bwMode="auto">
          <a:xfrm>
            <a:off x="2698025" y="2817178"/>
            <a:ext cx="3182096" cy="193321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0714F59-6474-4488-85C7-2F892570112A}"/>
              </a:ext>
            </a:extLst>
          </p:cNvPr>
          <p:cNvSpPr/>
          <p:nvPr/>
        </p:nvSpPr>
        <p:spPr>
          <a:xfrm>
            <a:off x="6784450" y="641870"/>
            <a:ext cx="2228597" cy="1323054"/>
          </a:xfrm>
          <a:prstGeom prst="rect">
            <a:avLst/>
          </a:prstGeom>
        </p:spPr>
        <p:txBody>
          <a:bodyPr wrap="square">
            <a:spAutoFit/>
          </a:bodyPr>
          <a:lstStyle/>
          <a:p>
            <a:pPr defTabSz="896364">
              <a:spcAft>
                <a:spcPts val="221"/>
              </a:spcAft>
            </a:pPr>
            <a:r>
              <a:rPr lang="en-US" sz="1176">
                <a:solidFill>
                  <a:srgbClr val="3C3C41"/>
                </a:solidFill>
                <a:latin typeface="Segoe UI Semibold"/>
              </a:rPr>
              <a:t>Access is controlled</a:t>
            </a:r>
            <a:br>
              <a:rPr lang="en-US" sz="1176">
                <a:solidFill>
                  <a:srgbClr val="3C3C41"/>
                </a:solidFill>
                <a:latin typeface="Segoe UI Semibold"/>
              </a:rPr>
            </a:br>
            <a:r>
              <a:rPr lang="en-US" sz="1176">
                <a:solidFill>
                  <a:srgbClr val="3C3C41"/>
                </a:solidFill>
                <a:latin typeface="Segoe UI Semibold"/>
              </a:rPr>
              <a:t>at three levels</a:t>
            </a:r>
          </a:p>
          <a:p>
            <a:pPr marL="0" lvl="1" defTabSz="896364">
              <a:spcAft>
                <a:spcPts val="221"/>
              </a:spcAft>
            </a:pPr>
            <a:r>
              <a:rPr lang="en-US" sz="1029">
                <a:solidFill>
                  <a:srgbClr val="3C3C41"/>
                </a:solidFill>
                <a:latin typeface="Segoe UI"/>
              </a:rPr>
              <a:t>Environment roles</a:t>
            </a:r>
          </a:p>
          <a:p>
            <a:pPr marL="0" lvl="1" defTabSz="896364">
              <a:spcAft>
                <a:spcPts val="221"/>
              </a:spcAft>
            </a:pPr>
            <a:r>
              <a:rPr lang="en-US" sz="1029">
                <a:solidFill>
                  <a:srgbClr val="3C3C41"/>
                </a:solidFill>
                <a:latin typeface="Segoe UI"/>
              </a:rPr>
              <a:t>Resource permissions for apps/flows/custom connectors/etc.</a:t>
            </a:r>
          </a:p>
          <a:p>
            <a:pPr marL="0" lvl="1" defTabSz="896364">
              <a:spcAft>
                <a:spcPts val="221"/>
              </a:spcAft>
            </a:pPr>
            <a:r>
              <a:rPr lang="en-US" sz="1029">
                <a:solidFill>
                  <a:srgbClr val="3C3C41"/>
                </a:solidFill>
                <a:latin typeface="Segoe UI"/>
              </a:rPr>
              <a:t>CDS security roles (if a CDS database has been provisioned)</a:t>
            </a:r>
          </a:p>
        </p:txBody>
      </p:sp>
      <p:sp>
        <p:nvSpPr>
          <p:cNvPr id="33" name="Rectangle 32">
            <a:extLst>
              <a:ext uri="{FF2B5EF4-FFF2-40B4-BE49-F238E27FC236}">
                <a16:creationId xmlns:a16="http://schemas.microsoft.com/office/drawing/2014/main" id="{92D39E78-89F5-4804-881C-2EE771792F0E}"/>
              </a:ext>
            </a:extLst>
          </p:cNvPr>
          <p:cNvSpPr/>
          <p:nvPr/>
        </p:nvSpPr>
        <p:spPr>
          <a:xfrm>
            <a:off x="6000078" y="3517901"/>
            <a:ext cx="2774748" cy="635174"/>
          </a:xfrm>
          <a:prstGeom prst="rect">
            <a:avLst/>
          </a:prstGeom>
        </p:spPr>
        <p:txBody>
          <a:bodyPr wrap="square">
            <a:spAutoFit/>
          </a:bodyPr>
          <a:lstStyle/>
          <a:p>
            <a:pPr defTabSz="896364">
              <a:spcAft>
                <a:spcPts val="221"/>
              </a:spcAft>
            </a:pPr>
            <a:r>
              <a:rPr lang="en-US" sz="1176">
                <a:solidFill>
                  <a:srgbClr val="3C3C41"/>
                </a:solidFill>
                <a:latin typeface="Segoe UI Semibold"/>
              </a:rPr>
              <a:t>Once a CDS database has been created, the CDS security roles take over for controlling security</a:t>
            </a:r>
          </a:p>
        </p:txBody>
      </p:sp>
      <p:sp>
        <p:nvSpPr>
          <p:cNvPr id="34" name="Rectangle 33">
            <a:extLst>
              <a:ext uri="{FF2B5EF4-FFF2-40B4-BE49-F238E27FC236}">
                <a16:creationId xmlns:a16="http://schemas.microsoft.com/office/drawing/2014/main" id="{BB90E792-42E4-4B90-9151-DFCB8E6F1EAE}"/>
              </a:ext>
            </a:extLst>
          </p:cNvPr>
          <p:cNvSpPr/>
          <p:nvPr/>
        </p:nvSpPr>
        <p:spPr bwMode="auto">
          <a:xfrm>
            <a:off x="2798656" y="2950243"/>
            <a:ext cx="1176557" cy="172700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33D23D1A-EA9B-47CA-840B-92855990E6C5}"/>
              </a:ext>
            </a:extLst>
          </p:cNvPr>
          <p:cNvSpPr/>
          <p:nvPr/>
        </p:nvSpPr>
        <p:spPr bwMode="auto">
          <a:xfrm>
            <a:off x="2863225" y="329564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36" name="Rectangle 35">
            <a:extLst>
              <a:ext uri="{FF2B5EF4-FFF2-40B4-BE49-F238E27FC236}">
                <a16:creationId xmlns:a16="http://schemas.microsoft.com/office/drawing/2014/main" id="{4153476B-FC27-4EBD-B5CC-8490A769CE54}"/>
              </a:ext>
            </a:extLst>
          </p:cNvPr>
          <p:cNvSpPr/>
          <p:nvPr/>
        </p:nvSpPr>
        <p:spPr bwMode="auto">
          <a:xfrm>
            <a:off x="2863225" y="3575772"/>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37" name="Rectangle 36">
            <a:extLst>
              <a:ext uri="{FF2B5EF4-FFF2-40B4-BE49-F238E27FC236}">
                <a16:creationId xmlns:a16="http://schemas.microsoft.com/office/drawing/2014/main" id="{75356D2D-A21D-422F-91EA-30A80489B029}"/>
              </a:ext>
            </a:extLst>
          </p:cNvPr>
          <p:cNvSpPr/>
          <p:nvPr/>
        </p:nvSpPr>
        <p:spPr bwMode="auto">
          <a:xfrm>
            <a:off x="2863225" y="385590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38" name="TextBox 37">
            <a:extLst>
              <a:ext uri="{FF2B5EF4-FFF2-40B4-BE49-F238E27FC236}">
                <a16:creationId xmlns:a16="http://schemas.microsoft.com/office/drawing/2014/main" id="{7FE0033B-6B4E-4478-B6C7-63891548C3A3}"/>
              </a:ext>
            </a:extLst>
          </p:cNvPr>
          <p:cNvSpPr txBox="1"/>
          <p:nvPr/>
        </p:nvSpPr>
        <p:spPr>
          <a:xfrm>
            <a:off x="2836284" y="300252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w/ CDS)</a:t>
            </a:r>
          </a:p>
        </p:txBody>
      </p:sp>
      <p:sp>
        <p:nvSpPr>
          <p:cNvPr id="39" name="Right Brace 15">
            <a:extLst>
              <a:ext uri="{FF2B5EF4-FFF2-40B4-BE49-F238E27FC236}">
                <a16:creationId xmlns:a16="http://schemas.microsoft.com/office/drawing/2014/main" id="{11AF2326-B5BC-4EB8-82E7-034A2E5E3156}"/>
              </a:ext>
            </a:extLst>
          </p:cNvPr>
          <p:cNvSpPr/>
          <p:nvPr/>
        </p:nvSpPr>
        <p:spPr>
          <a:xfrm>
            <a:off x="3807505" y="326412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18" name="TextBox 17">
            <a:extLst>
              <a:ext uri="{FF2B5EF4-FFF2-40B4-BE49-F238E27FC236}">
                <a16:creationId xmlns:a16="http://schemas.microsoft.com/office/drawing/2014/main" id="{D759AA94-8B75-43F4-8023-4C6878BC25F0}"/>
              </a:ext>
            </a:extLst>
          </p:cNvPr>
          <p:cNvSpPr txBox="1"/>
          <p:nvPr/>
        </p:nvSpPr>
        <p:spPr>
          <a:xfrm>
            <a:off x="2836284" y="4521703"/>
            <a:ext cx="1101301" cy="101695"/>
          </a:xfrm>
          <a:prstGeom prst="rect">
            <a:avLst/>
          </a:prstGeom>
          <a:noFill/>
        </p:spPr>
        <p:txBody>
          <a:bodyPr wrap="square" lIns="0" tIns="0" rIns="0" bIns="0" rtlCol="0">
            <a:spAutoFit/>
          </a:bodyPr>
          <a:lstStyle/>
          <a:p>
            <a:pPr algn="ctr" defTabSz="431780">
              <a:defRPr/>
            </a:pPr>
            <a:r>
              <a:rPr lang="en-US" sz="661">
                <a:solidFill>
                  <a:srgbClr val="3C3C41"/>
                </a:solidFill>
                <a:latin typeface="Segoe UI" panose="020B0502040204020203" pitchFamily="34" charset="0"/>
                <a:cs typeface="Segoe UI" panose="020B0502040204020203" pitchFamily="34" charset="0"/>
              </a:rPr>
              <a:t>Common Data Service</a:t>
            </a:r>
          </a:p>
        </p:txBody>
      </p:sp>
      <p:pic>
        <p:nvPicPr>
          <p:cNvPr id="29" name="Graphic 28">
            <a:extLst>
              <a:ext uri="{FF2B5EF4-FFF2-40B4-BE49-F238E27FC236}">
                <a16:creationId xmlns:a16="http://schemas.microsoft.com/office/drawing/2014/main" id="{DC3C5BE0-F18C-46ED-9586-BECABF06CC0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43928" y="4200120"/>
            <a:ext cx="286013" cy="286013"/>
          </a:xfrm>
          <a:prstGeom prst="rect">
            <a:avLst/>
          </a:prstGeom>
        </p:spPr>
      </p:pic>
      <p:sp>
        <p:nvSpPr>
          <p:cNvPr id="40" name="TextBox 39">
            <a:extLst>
              <a:ext uri="{FF2B5EF4-FFF2-40B4-BE49-F238E27FC236}">
                <a16:creationId xmlns:a16="http://schemas.microsoft.com/office/drawing/2014/main" id="{BE7F08D2-D054-48C4-B53B-5374A49D112B}"/>
              </a:ext>
            </a:extLst>
          </p:cNvPr>
          <p:cNvSpPr txBox="1"/>
          <p:nvPr/>
        </p:nvSpPr>
        <p:spPr>
          <a:xfrm>
            <a:off x="4306797" y="3019720"/>
            <a:ext cx="1615712" cy="311156"/>
          </a:xfrm>
          <a:prstGeom prst="rect">
            <a:avLst/>
          </a:prstGeom>
          <a:noFill/>
        </p:spPr>
        <p:txBody>
          <a:bodyPr wrap="square" lIns="0" tIns="0" rIns="0" bIns="0" rtlCol="0">
            <a:noAutofit/>
          </a:bodyPr>
          <a:lstStyle/>
          <a:p>
            <a:pPr defTabSz="896364">
              <a:spcAft>
                <a:spcPts val="221"/>
              </a:spcAft>
            </a:pPr>
            <a:r>
              <a:rPr lang="en-US" sz="1029" strike="sngStrike">
                <a:solidFill>
                  <a:srgbClr val="3C3C41"/>
                </a:solidFill>
                <a:latin typeface="Segoe UI Semibold"/>
              </a:rPr>
              <a:t>Environment Roles</a:t>
            </a:r>
          </a:p>
          <a:p>
            <a:pPr defTabSz="896364">
              <a:spcAft>
                <a:spcPts val="221"/>
              </a:spcAft>
            </a:pPr>
            <a:r>
              <a:rPr lang="en-US" sz="882" strike="sngStrike">
                <a:solidFill>
                  <a:srgbClr val="3C3C41"/>
                </a:solidFill>
                <a:latin typeface="Segoe UI"/>
              </a:rPr>
              <a:t>(Maker/Admin)</a:t>
            </a:r>
            <a:endParaRPr lang="en-US" sz="1176" strike="sngStrike">
              <a:solidFill>
                <a:srgbClr val="3C3C41"/>
              </a:solidFill>
              <a:latin typeface="Segoe UI"/>
            </a:endParaRPr>
          </a:p>
        </p:txBody>
      </p:sp>
      <p:sp>
        <p:nvSpPr>
          <p:cNvPr id="41" name="TextBox 40">
            <a:extLst>
              <a:ext uri="{FF2B5EF4-FFF2-40B4-BE49-F238E27FC236}">
                <a16:creationId xmlns:a16="http://schemas.microsoft.com/office/drawing/2014/main" id="{02716B09-6D53-4B26-97D5-4E5A5E303EEF}"/>
              </a:ext>
            </a:extLst>
          </p:cNvPr>
          <p:cNvSpPr txBox="1"/>
          <p:nvPr/>
        </p:nvSpPr>
        <p:spPr>
          <a:xfrm>
            <a:off x="4306796" y="360334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42" name="TextBox 41">
            <a:extLst>
              <a:ext uri="{FF2B5EF4-FFF2-40B4-BE49-F238E27FC236}">
                <a16:creationId xmlns:a16="http://schemas.microsoft.com/office/drawing/2014/main" id="{81690EC0-D361-4261-B6EC-319BB01227E5}"/>
              </a:ext>
            </a:extLst>
          </p:cNvPr>
          <p:cNvSpPr txBox="1"/>
          <p:nvPr/>
        </p:nvSpPr>
        <p:spPr>
          <a:xfrm>
            <a:off x="4306796" y="430546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 &amp; CDS Roles</a:t>
            </a:r>
          </a:p>
          <a:p>
            <a:pPr defTabSz="896364">
              <a:spcAft>
                <a:spcPts val="221"/>
              </a:spcAft>
            </a:pPr>
            <a:r>
              <a:rPr lang="en-US" sz="882">
                <a:solidFill>
                  <a:srgbClr val="3C3C41"/>
                </a:solidFill>
                <a:latin typeface="Segoe UI"/>
              </a:rPr>
              <a:t>(Maker/Admin/Customizer…)</a:t>
            </a:r>
          </a:p>
        </p:txBody>
      </p:sp>
      <p:sp>
        <p:nvSpPr>
          <p:cNvPr id="43" name="Freeform: Shape 42">
            <a:extLst>
              <a:ext uri="{FF2B5EF4-FFF2-40B4-BE49-F238E27FC236}">
                <a16:creationId xmlns:a16="http://schemas.microsoft.com/office/drawing/2014/main" id="{CDCDAD90-B780-469A-B450-507E237D60C5}"/>
              </a:ext>
            </a:extLst>
          </p:cNvPr>
          <p:cNvSpPr/>
          <p:nvPr/>
        </p:nvSpPr>
        <p:spPr bwMode="auto">
          <a:xfrm flipH="1" flipV="1">
            <a:off x="4778259" y="844079"/>
            <a:ext cx="291967"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4" name="Freeform: Shape 43">
            <a:extLst>
              <a:ext uri="{FF2B5EF4-FFF2-40B4-BE49-F238E27FC236}">
                <a16:creationId xmlns:a16="http://schemas.microsoft.com/office/drawing/2014/main" id="{1622BA59-68A5-46FD-BBB7-EFEDB41AADFF}"/>
              </a:ext>
            </a:extLst>
          </p:cNvPr>
          <p:cNvSpPr/>
          <p:nvPr/>
        </p:nvSpPr>
        <p:spPr bwMode="auto">
          <a:xfrm flipH="1" flipV="1">
            <a:off x="4677785" y="1473328"/>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5" name="Freeform: Shape 44">
            <a:extLst>
              <a:ext uri="{FF2B5EF4-FFF2-40B4-BE49-F238E27FC236}">
                <a16:creationId xmlns:a16="http://schemas.microsoft.com/office/drawing/2014/main" id="{0F881E2E-8D6E-4FD7-BA99-1C600B20666C}"/>
              </a:ext>
            </a:extLst>
          </p:cNvPr>
          <p:cNvSpPr/>
          <p:nvPr/>
        </p:nvSpPr>
        <p:spPr bwMode="auto">
          <a:xfrm flipH="1" flipV="1">
            <a:off x="3874737" y="3654211"/>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6" name="Freeform: Shape 45">
            <a:extLst>
              <a:ext uri="{FF2B5EF4-FFF2-40B4-BE49-F238E27FC236}">
                <a16:creationId xmlns:a16="http://schemas.microsoft.com/office/drawing/2014/main" id="{C8AA50F8-0898-4A66-BF54-5173269D7908}"/>
              </a:ext>
            </a:extLst>
          </p:cNvPr>
          <p:cNvSpPr/>
          <p:nvPr/>
        </p:nvSpPr>
        <p:spPr bwMode="auto">
          <a:xfrm flipH="1" flipV="1">
            <a:off x="3975211" y="4343126"/>
            <a:ext cx="291968"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7472476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822960" y="1431598"/>
            <a:ext cx="2867225" cy="61722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nvGrpSpPr>
          <p:cNvPr id="34" name="Group 33">
            <a:extLst>
              <a:ext uri="{FF2B5EF4-FFF2-40B4-BE49-F238E27FC236}">
                <a16:creationId xmlns:a16="http://schemas.microsoft.com/office/drawing/2014/main" id="{A7BA440F-5C46-4D23-86D9-7A797D9D5717}"/>
              </a:ext>
            </a:extLst>
          </p:cNvPr>
          <p:cNvGrpSpPr/>
          <p:nvPr/>
        </p:nvGrpSpPr>
        <p:grpSpPr>
          <a:xfrm>
            <a:off x="166953" y="2225868"/>
            <a:ext cx="3515502" cy="617220"/>
            <a:chOff x="343727" y="2343610"/>
            <a:chExt cx="476926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27" y="2394878"/>
              <a:ext cx="474662" cy="474663"/>
              <a:chOff x="6317" y="1470"/>
              <a:chExt cx="299" cy="299"/>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sp>
        <p:nvSpPr>
          <p:cNvPr id="3" name="Text Placeholder 6">
            <a:extLst>
              <a:ext uri="{FF2B5EF4-FFF2-40B4-BE49-F238E27FC236}">
                <a16:creationId xmlns:a16="http://schemas.microsoft.com/office/drawing/2014/main" id="{C919297A-7AFE-4FDA-949B-142E79E18856}"/>
              </a:ext>
            </a:extLst>
          </p:cNvPr>
          <p:cNvSpPr txBox="1">
            <a:spLocks/>
          </p:cNvSpPr>
          <p:nvPr/>
        </p:nvSpPr>
        <p:spPr>
          <a:xfrm>
            <a:off x="812748" y="1276691"/>
            <a:ext cx="3193091" cy="617220"/>
          </a:xfrm>
          <a:prstGeom prst="rect">
            <a:avLst/>
          </a:prstGeom>
        </p:spPr>
        <p:txBody>
          <a:bodyPr lIns="68580" tIns="34290" rIns="68580" bIns="34290"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63" spc="0" dirty="0">
                <a:gradFill>
                  <a:gsLst>
                    <a:gs pos="0">
                      <a:schemeClr val="tx1"/>
                    </a:gs>
                    <a:gs pos="100000">
                      <a:schemeClr val="tx1"/>
                    </a:gs>
                  </a:gsLst>
                  <a:lin ang="5400000" scaled="0"/>
                </a:gradFill>
                <a:latin typeface="Segoe UI"/>
              </a:rPr>
              <a:t>Admin capability to diagnose any user access related issues by invoking ‘Run diagnostics’ capability from admin center</a:t>
            </a:r>
          </a:p>
          <a:p>
            <a:pPr>
              <a:spcBef>
                <a:spcPts val="900"/>
              </a:spcBef>
              <a:spcAft>
                <a:spcPts val="900"/>
              </a:spcAft>
            </a:pPr>
            <a:r>
              <a:rPr lang="en-US" sz="1176" spc="0" dirty="0">
                <a:gradFill>
                  <a:gsLst>
                    <a:gs pos="0">
                      <a:schemeClr val="tx1"/>
                    </a:gs>
                    <a:gs pos="100000">
                      <a:schemeClr val="tx1"/>
                    </a:gs>
                  </a:gsLst>
                  <a:lin ang="5400000" scaled="0"/>
                </a:gradFill>
                <a:latin typeface="Segoe UI"/>
              </a:rPr>
              <a:t>Identify any license, security role, security group or AAD related issues related to </a:t>
            </a:r>
            <a:br>
              <a:rPr lang="en-US" sz="1176" spc="0" dirty="0">
                <a:gradFill>
                  <a:gsLst>
                    <a:gs pos="0">
                      <a:schemeClr val="tx1"/>
                    </a:gs>
                    <a:gs pos="100000">
                      <a:schemeClr val="tx1"/>
                    </a:gs>
                  </a:gsLst>
                  <a:lin ang="5400000" scaled="0"/>
                </a:gradFill>
                <a:latin typeface="Segoe UI"/>
              </a:rPr>
            </a:br>
            <a:r>
              <a:rPr lang="en-US" sz="1176" spc="0" dirty="0">
                <a:gradFill>
                  <a:gsLst>
                    <a:gs pos="0">
                      <a:schemeClr val="tx1"/>
                    </a:gs>
                    <a:gs pos="100000">
                      <a:schemeClr val="tx1"/>
                    </a:gs>
                  </a:gsLst>
                  <a:lin ang="5400000" scaled="0"/>
                </a:gradFill>
                <a:latin typeface="Segoe UI"/>
              </a:rPr>
              <a:t>Power Platform user access</a:t>
            </a:r>
          </a:p>
          <a:p>
            <a:pPr>
              <a:spcBef>
                <a:spcPts val="900"/>
              </a:spcBef>
              <a:spcAft>
                <a:spcPts val="900"/>
              </a:spcAft>
            </a:pPr>
            <a:r>
              <a:rPr lang="en-US" sz="1176" spc="0" dirty="0">
                <a:gradFill>
                  <a:gsLst>
                    <a:gs pos="0">
                      <a:schemeClr val="tx1"/>
                    </a:gs>
                    <a:gs pos="100000">
                      <a:schemeClr val="tx1"/>
                    </a:gs>
                  </a:gsLst>
                  <a:lin ang="5400000" scaled="0"/>
                </a:gradFill>
                <a:latin typeface="Segoe UI"/>
              </a:rPr>
              <a:t>Get appropriate pointers to resolve the underlying problem</a:t>
            </a:r>
          </a:p>
          <a:p>
            <a:pPr>
              <a:spcBef>
                <a:spcPts val="900"/>
              </a:spcBef>
              <a:spcAft>
                <a:spcPts val="900"/>
              </a:spcAft>
            </a:pPr>
            <a:r>
              <a:rPr lang="en-US" sz="1163" spc="0" dirty="0">
                <a:gradFill>
                  <a:gsLst>
                    <a:gs pos="0">
                      <a:schemeClr val="tx1"/>
                    </a:gs>
                    <a:gs pos="100000">
                      <a:schemeClr val="tx1"/>
                    </a:gs>
                  </a:gsLst>
                  <a:lin ang="5400000" scaled="0"/>
                </a:gradFill>
                <a:latin typeface="Segoe UI"/>
              </a:rPr>
              <a:t>Auto-synchronization of latest user information in AAD during diagnostics run </a:t>
            </a:r>
            <a:endParaRPr lang="en-US" sz="1163" spc="0" dirty="0">
              <a:gradFill>
                <a:gsLst>
                  <a:gs pos="0">
                    <a:schemeClr val="tx1"/>
                  </a:gs>
                  <a:gs pos="100000">
                    <a:schemeClr val="tx1"/>
                  </a:gs>
                </a:gsLst>
                <a:lin ang="5400000" scaled="0"/>
              </a:gradFill>
              <a:latin typeface="Segoe UI"/>
              <a:cs typeface="Segoe UI"/>
            </a:endParaRPr>
          </a:p>
        </p:txBody>
      </p:sp>
      <p:sp>
        <p:nvSpPr>
          <p:cNvPr id="4" name="Title 3">
            <a:extLst>
              <a:ext uri="{FF2B5EF4-FFF2-40B4-BE49-F238E27FC236}">
                <a16:creationId xmlns:a16="http://schemas.microsoft.com/office/drawing/2014/main" id="{DEB25907-A188-4002-A0A2-D8DC8BFAF1FC}"/>
              </a:ext>
            </a:extLst>
          </p:cNvPr>
          <p:cNvSpPr>
            <a:spLocks noGrp="1"/>
          </p:cNvSpPr>
          <p:nvPr>
            <p:ph type="title"/>
          </p:nvPr>
        </p:nvSpPr>
        <p:spPr>
          <a:xfrm>
            <a:off x="441197" y="342900"/>
            <a:ext cx="8263890" cy="646331"/>
          </a:xfrm>
        </p:spPr>
        <p:txBody>
          <a:bodyPr/>
          <a:lstStyle/>
          <a:p>
            <a:r>
              <a:rPr lang="en-US" dirty="0"/>
              <a:t>User Access </a:t>
            </a:r>
            <a:r>
              <a:rPr lang="en-US" dirty="0" err="1"/>
              <a:t>Diags</a:t>
            </a:r>
            <a:r>
              <a:rPr lang="en-US" dirty="0"/>
              <a:t> and Troubleshooting</a:t>
            </a:r>
            <a:br>
              <a:rPr lang="en-US" dirty="0"/>
            </a:br>
            <a:endParaRPr lang="en-US" sz="1500" dirty="0">
              <a:gradFill flip="none" rotWithShape="1">
                <a:gsLst>
                  <a:gs pos="82000">
                    <a:schemeClr val="accent5"/>
                  </a:gs>
                  <a:gs pos="0">
                    <a:schemeClr val="accent5"/>
                  </a:gs>
                </a:gsLst>
                <a:lin ang="2700000" scaled="1"/>
                <a:tileRect/>
              </a:gradFill>
            </a:endParaRPr>
          </a:p>
        </p:txBody>
      </p:sp>
      <p:pic>
        <p:nvPicPr>
          <p:cNvPr id="13" name="Picture 2" descr="Select Run diagnostics">
            <a:extLst>
              <a:ext uri="{FF2B5EF4-FFF2-40B4-BE49-F238E27FC236}">
                <a16:creationId xmlns:a16="http://schemas.microsoft.com/office/drawing/2014/main" id="{A56841F0-2FAB-4C48-A89E-E6B2971EF2B2}"/>
              </a:ext>
            </a:extLst>
          </p:cNvPr>
          <p:cNvPicPr>
            <a:picLocks noGrp="1" noChangeAspect="1" noChangeArrowheads="1"/>
          </p:cNvPicPr>
          <p:nvPr>
            <p:ph type="pic" sz="quarter" idx="11"/>
          </p:nvPr>
        </p:nvPicPr>
        <p:blipFill rotWithShape="1">
          <a:blip r:embed="rId4">
            <a:extLst>
              <a:ext uri="{28A0092B-C50C-407E-A947-70E740481C1C}">
                <a14:useLocalDpi xmlns:a14="http://schemas.microsoft.com/office/drawing/2010/main"/>
              </a:ext>
            </a:extLst>
          </a:blip>
          <a:srcRect l="320" r="320"/>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Run diagnostics results">
            <a:extLst>
              <a:ext uri="{FF2B5EF4-FFF2-40B4-BE49-F238E27FC236}">
                <a16:creationId xmlns:a16="http://schemas.microsoft.com/office/drawing/2014/main" id="{95EC8628-5582-45CA-B9FA-C1CF1FE9AE0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38183" y="2442318"/>
            <a:ext cx="2237345" cy="1954195"/>
          </a:xfrm>
          <a:prstGeom prst="rect">
            <a:avLst/>
          </a:prstGeom>
          <a:noFill/>
          <a:effectLst>
            <a:outerShdw blurRad="190500" dist="38100" dir="2700000" algn="ctr" rotWithShape="0">
              <a:schemeClr val="tx1">
                <a:alpha val="25000"/>
              </a:schemeClr>
            </a:outerShdw>
          </a:effectLst>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0CD3677B-37BD-4FB2-9107-A8D6C9886E3B}"/>
              </a:ext>
            </a:extLst>
          </p:cNvPr>
          <p:cNvSpPr/>
          <p:nvPr/>
        </p:nvSpPr>
        <p:spPr bwMode="auto">
          <a:xfrm>
            <a:off x="441198" y="1244863"/>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1</a:t>
            </a:r>
          </a:p>
        </p:txBody>
      </p:sp>
      <p:sp>
        <p:nvSpPr>
          <p:cNvPr id="16" name="Oval 15">
            <a:extLst>
              <a:ext uri="{FF2B5EF4-FFF2-40B4-BE49-F238E27FC236}">
                <a16:creationId xmlns:a16="http://schemas.microsoft.com/office/drawing/2014/main" id="{C1057FF7-48D0-4302-A82B-0968B5E95EF7}"/>
              </a:ext>
            </a:extLst>
          </p:cNvPr>
          <p:cNvSpPr/>
          <p:nvPr/>
        </p:nvSpPr>
        <p:spPr bwMode="auto">
          <a:xfrm>
            <a:off x="441198" y="199123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2</a:t>
            </a:r>
          </a:p>
        </p:txBody>
      </p:sp>
      <p:sp>
        <p:nvSpPr>
          <p:cNvPr id="18" name="Oval 17">
            <a:extLst>
              <a:ext uri="{FF2B5EF4-FFF2-40B4-BE49-F238E27FC236}">
                <a16:creationId xmlns:a16="http://schemas.microsoft.com/office/drawing/2014/main" id="{5A5D9656-9D36-4675-94B9-307059F861D8}"/>
              </a:ext>
            </a:extLst>
          </p:cNvPr>
          <p:cNvSpPr/>
          <p:nvPr/>
        </p:nvSpPr>
        <p:spPr bwMode="auto">
          <a:xfrm>
            <a:off x="441198" y="280219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3</a:t>
            </a:r>
          </a:p>
        </p:txBody>
      </p:sp>
      <p:sp>
        <p:nvSpPr>
          <p:cNvPr id="25" name="Oval 24">
            <a:extLst>
              <a:ext uri="{FF2B5EF4-FFF2-40B4-BE49-F238E27FC236}">
                <a16:creationId xmlns:a16="http://schemas.microsoft.com/office/drawing/2014/main" id="{806224CC-A203-4C2B-B017-73F47BC462EC}"/>
              </a:ext>
            </a:extLst>
          </p:cNvPr>
          <p:cNvSpPr/>
          <p:nvPr/>
        </p:nvSpPr>
        <p:spPr bwMode="auto">
          <a:xfrm>
            <a:off x="441198" y="3401022"/>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4</a:t>
            </a:r>
          </a:p>
        </p:txBody>
      </p:sp>
    </p:spTree>
    <p:custDataLst>
      <p:tags r:id="rId1"/>
    </p:custDataLst>
    <p:extLst>
      <p:ext uri="{BB962C8B-B14F-4D97-AF65-F5344CB8AC3E}">
        <p14:creationId xmlns:p14="http://schemas.microsoft.com/office/powerpoint/2010/main" val="2987151236"/>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E13CB8D1-C196-4BD7-9006-648FCA9804B4}"/>
              </a:ext>
            </a:extLst>
          </p:cNvPr>
          <p:cNvSpPr/>
          <p:nvPr/>
        </p:nvSpPr>
        <p:spPr bwMode="auto">
          <a:xfrm>
            <a:off x="215995" y="1280193"/>
            <a:ext cx="8928005" cy="3862941"/>
          </a:xfrm>
          <a:custGeom>
            <a:avLst/>
            <a:gdLst>
              <a:gd name="connsiteX0" fmla="*/ 572314 w 12142707"/>
              <a:gd name="connsiteY0" fmla="*/ 0 h 5253868"/>
              <a:gd name="connsiteX1" fmla="*/ 10012232 w 12142707"/>
              <a:gd name="connsiteY1" fmla="*/ 0 h 5253868"/>
              <a:gd name="connsiteX2" fmla="*/ 12142707 w 12142707"/>
              <a:gd name="connsiteY2" fmla="*/ 4260949 h 5253868"/>
              <a:gd name="connsiteX3" fmla="*/ 12142707 w 12142707"/>
              <a:gd name="connsiteY3" fmla="*/ 5253868 h 5253868"/>
              <a:gd name="connsiteX4" fmla="*/ 0 w 12142707"/>
              <a:gd name="connsiteY4" fmla="*/ 5253868 h 5253868"/>
              <a:gd name="connsiteX5" fmla="*/ 0 w 12142707"/>
              <a:gd name="connsiteY5" fmla="*/ 1144627 h 52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2707" h="5253868">
                <a:moveTo>
                  <a:pt x="572314" y="0"/>
                </a:moveTo>
                <a:lnTo>
                  <a:pt x="10012232" y="0"/>
                </a:lnTo>
                <a:lnTo>
                  <a:pt x="12142707" y="4260949"/>
                </a:lnTo>
                <a:lnTo>
                  <a:pt x="12142707" y="5253868"/>
                </a:lnTo>
                <a:lnTo>
                  <a:pt x="0" y="5253868"/>
                </a:lnTo>
                <a:lnTo>
                  <a:pt x="0" y="114462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905F38F3-7BB0-4EFF-A304-7015DD4AD37D}"/>
              </a:ext>
            </a:extLst>
          </p:cNvPr>
          <p:cNvSpPr/>
          <p:nvPr/>
        </p:nvSpPr>
        <p:spPr bwMode="auto">
          <a:xfrm>
            <a:off x="0" y="1065646"/>
            <a:ext cx="9144000" cy="4072645"/>
          </a:xfrm>
          <a:custGeom>
            <a:avLst/>
            <a:gdLst>
              <a:gd name="connsiteX0" fmla="*/ 572314 w 12436475"/>
              <a:gd name="connsiteY0" fmla="*/ 0 h 5539080"/>
              <a:gd name="connsiteX1" fmla="*/ 10012232 w 12436475"/>
              <a:gd name="connsiteY1" fmla="*/ 0 h 5539080"/>
              <a:gd name="connsiteX2" fmla="*/ 12436475 w 12436475"/>
              <a:gd name="connsiteY2" fmla="*/ 4848484 h 5539080"/>
              <a:gd name="connsiteX3" fmla="*/ 12436475 w 12436475"/>
              <a:gd name="connsiteY3" fmla="*/ 5539080 h 5539080"/>
              <a:gd name="connsiteX4" fmla="*/ 0 w 12436475"/>
              <a:gd name="connsiteY4" fmla="*/ 5539080 h 5539080"/>
              <a:gd name="connsiteX5" fmla="*/ 0 w 12436475"/>
              <a:gd name="connsiteY5" fmla="*/ 1144627 h 553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6475" h="5539080">
                <a:moveTo>
                  <a:pt x="572314" y="0"/>
                </a:moveTo>
                <a:lnTo>
                  <a:pt x="10012232" y="0"/>
                </a:lnTo>
                <a:lnTo>
                  <a:pt x="12436475" y="4848484"/>
                </a:lnTo>
                <a:lnTo>
                  <a:pt x="12436475" y="5539080"/>
                </a:lnTo>
                <a:lnTo>
                  <a:pt x="0" y="5539080"/>
                </a:lnTo>
                <a:lnTo>
                  <a:pt x="0" y="1144627"/>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itle 13">
            <a:extLst>
              <a:ext uri="{FF2B5EF4-FFF2-40B4-BE49-F238E27FC236}">
                <a16:creationId xmlns:a16="http://schemas.microsoft.com/office/drawing/2014/main" id="{0A1BC9E7-0E0C-4303-ACDB-5E4FBB780FE4}"/>
              </a:ext>
            </a:extLst>
          </p:cNvPr>
          <p:cNvSpPr>
            <a:spLocks noGrp="1"/>
          </p:cNvSpPr>
          <p:nvPr>
            <p:ph type="title"/>
          </p:nvPr>
        </p:nvSpPr>
        <p:spPr/>
        <p:txBody>
          <a:bodyPr/>
          <a:lstStyle/>
          <a:p>
            <a:r>
              <a:rPr lang="en-US" dirty="0"/>
              <a:t>Security with Dataverse in an environment</a:t>
            </a:r>
            <a:endParaRPr lang="en-GB" dirty="0"/>
          </a:p>
        </p:txBody>
      </p:sp>
      <p:sp>
        <p:nvSpPr>
          <p:cNvPr id="76" name="Text Placeholder 2" hidden="1">
            <a:extLst>
              <a:ext uri="{FF2B5EF4-FFF2-40B4-BE49-F238E27FC236}">
                <a16:creationId xmlns:a16="http://schemas.microsoft.com/office/drawing/2014/main" id="{7FA3820C-D0F9-45C5-B3B4-73A1071E713F}"/>
              </a:ext>
            </a:extLst>
          </p:cNvPr>
          <p:cNvSpPr txBox="1">
            <a:spLocks/>
          </p:cNvSpPr>
          <p:nvPr/>
        </p:nvSpPr>
        <p:spPr>
          <a:xfrm>
            <a:off x="429538" y="1055824"/>
            <a:ext cx="8217543" cy="363946"/>
          </a:xfrm>
          <a:prstGeom prst="rect">
            <a:avLst/>
          </a:prstGeom>
        </p:spPr>
        <p:txBody>
          <a:bodyP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endParaRPr lang="en-US" sz="1765" spc="-37">
              <a:solidFill>
                <a:srgbClr val="3C3C41"/>
              </a:solidFill>
              <a:latin typeface="Segoe UI" panose="020B0502040204020203" pitchFamily="34" charset="0"/>
            </a:endParaRPr>
          </a:p>
        </p:txBody>
      </p:sp>
      <p:grpSp>
        <p:nvGrpSpPr>
          <p:cNvPr id="12" name="Group 11">
            <a:extLst>
              <a:ext uri="{FF2B5EF4-FFF2-40B4-BE49-F238E27FC236}">
                <a16:creationId xmlns:a16="http://schemas.microsoft.com/office/drawing/2014/main" id="{4EE440B5-00AF-4E9A-9A2E-2F7500D0125E}"/>
              </a:ext>
            </a:extLst>
          </p:cNvPr>
          <p:cNvGrpSpPr/>
          <p:nvPr/>
        </p:nvGrpSpPr>
        <p:grpSpPr>
          <a:xfrm>
            <a:off x="279251" y="1401229"/>
            <a:ext cx="7870639" cy="3017231"/>
            <a:chOff x="1881007" y="2484351"/>
            <a:chExt cx="8674461" cy="3325378"/>
          </a:xfrm>
        </p:grpSpPr>
        <p:sp>
          <p:nvSpPr>
            <p:cNvPr id="85" name="Hexagon 84">
              <a:extLst>
                <a:ext uri="{FF2B5EF4-FFF2-40B4-BE49-F238E27FC236}">
                  <a16:creationId xmlns:a16="http://schemas.microsoft.com/office/drawing/2014/main" id="{7CF8CD03-55F6-4403-A355-7A4A7F4AE4EF}"/>
                </a:ext>
              </a:extLst>
            </p:cNvPr>
            <p:cNvSpPr/>
            <p:nvPr/>
          </p:nvSpPr>
          <p:spPr bwMode="auto">
            <a:xfrm>
              <a:off x="2105815" y="2637082"/>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a:solidFill>
                    <a:schemeClr val="bg1"/>
                  </a:solidFill>
                  <a:latin typeface="Segoe UI"/>
                </a:rPr>
                <a:t>Users are associated with an environment either directly or just in-time via an Azure AD Group</a:t>
              </a:r>
            </a:p>
          </p:txBody>
        </p:sp>
        <p:sp>
          <p:nvSpPr>
            <p:cNvPr id="100" name="Hexagon 99">
              <a:extLst>
                <a:ext uri="{FF2B5EF4-FFF2-40B4-BE49-F238E27FC236}">
                  <a16:creationId xmlns:a16="http://schemas.microsoft.com/office/drawing/2014/main" id="{8406507A-CF41-498A-A4DB-ACF7A5B34AB8}"/>
                </a:ext>
              </a:extLst>
            </p:cNvPr>
            <p:cNvSpPr/>
            <p:nvPr/>
          </p:nvSpPr>
          <p:spPr bwMode="auto">
            <a:xfrm>
              <a:off x="4138035"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Access to apps, data and services is by association with one or more security roles</a:t>
              </a:r>
            </a:p>
          </p:txBody>
        </p:sp>
        <p:sp>
          <p:nvSpPr>
            <p:cNvPr id="105" name="Hexagon 104">
              <a:extLst>
                <a:ext uri="{FF2B5EF4-FFF2-40B4-BE49-F238E27FC236}">
                  <a16:creationId xmlns:a16="http://schemas.microsoft.com/office/drawing/2014/main" id="{D7390203-2708-47BA-98C7-3F63CFEA4926}"/>
                </a:ext>
              </a:extLst>
            </p:cNvPr>
            <p:cNvSpPr/>
            <p:nvPr/>
          </p:nvSpPr>
          <p:spPr bwMode="auto">
            <a:xfrm>
              <a:off x="6079464" y="2484351"/>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Each security role grants discrete privileges </a:t>
              </a:r>
            </a:p>
          </p:txBody>
        </p:sp>
        <p:sp>
          <p:nvSpPr>
            <p:cNvPr id="110" name="Hexagon 109">
              <a:extLst>
                <a:ext uri="{FF2B5EF4-FFF2-40B4-BE49-F238E27FC236}">
                  <a16:creationId xmlns:a16="http://schemas.microsoft.com/office/drawing/2014/main" id="{A5F44028-A068-468F-9E4D-5BB1BFB7D68C}"/>
                </a:ext>
              </a:extLst>
            </p:cNvPr>
            <p:cNvSpPr/>
            <p:nvPr/>
          </p:nvSpPr>
          <p:spPr bwMode="auto">
            <a:xfrm>
              <a:off x="8031560"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err="1">
                  <a:solidFill>
                    <a:schemeClr val="bg1"/>
                  </a:solidFill>
                  <a:latin typeface="Segoe UI"/>
                </a:rPr>
                <a:t>Dataverse</a:t>
              </a:r>
              <a:r>
                <a:rPr lang="en-US" sz="1471" dirty="0">
                  <a:solidFill>
                    <a:schemeClr val="bg1"/>
                  </a:solidFill>
                  <a:latin typeface="Segoe UI"/>
                </a:rPr>
                <a:t> Data can be secured down to the field level</a:t>
              </a:r>
            </a:p>
          </p:txBody>
        </p:sp>
        <p:grpSp>
          <p:nvGrpSpPr>
            <p:cNvPr id="11" name="Group 10">
              <a:extLst>
                <a:ext uri="{FF2B5EF4-FFF2-40B4-BE49-F238E27FC236}">
                  <a16:creationId xmlns:a16="http://schemas.microsoft.com/office/drawing/2014/main" id="{77CD83F0-DDAF-46D1-8FB0-85CE40092804}"/>
                </a:ext>
              </a:extLst>
            </p:cNvPr>
            <p:cNvGrpSpPr/>
            <p:nvPr/>
          </p:nvGrpSpPr>
          <p:grpSpPr>
            <a:xfrm>
              <a:off x="1881007" y="3487518"/>
              <a:ext cx="502355" cy="433065"/>
              <a:chOff x="1881007" y="3487518"/>
              <a:chExt cx="502355" cy="433065"/>
            </a:xfrm>
          </p:grpSpPr>
          <p:sp>
            <p:nvSpPr>
              <p:cNvPr id="82" name="Hexagon 81">
                <a:extLst>
                  <a:ext uri="{FF2B5EF4-FFF2-40B4-BE49-F238E27FC236}">
                    <a16:creationId xmlns:a16="http://schemas.microsoft.com/office/drawing/2014/main" id="{8A521663-2EC6-446E-BDA1-1303F5B55E05}"/>
                  </a:ext>
                </a:extLst>
              </p:cNvPr>
              <p:cNvSpPr/>
              <p:nvPr/>
            </p:nvSpPr>
            <p:spPr bwMode="auto">
              <a:xfrm>
                <a:off x="1881007" y="3487518"/>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4" name="people_7" title="Icon of two people">
                <a:extLst>
                  <a:ext uri="{FF2B5EF4-FFF2-40B4-BE49-F238E27FC236}">
                    <a16:creationId xmlns:a16="http://schemas.microsoft.com/office/drawing/2014/main" id="{6D2A2B65-375B-4E28-ABB1-D7F7F4EB9E4A}"/>
                  </a:ext>
                </a:extLst>
              </p:cNvPr>
              <p:cNvSpPr>
                <a:spLocks noChangeAspect="1" noEditPoints="1"/>
              </p:cNvSpPr>
              <p:nvPr/>
            </p:nvSpPr>
            <p:spPr bwMode="auto">
              <a:xfrm>
                <a:off x="2005826" y="3566105"/>
                <a:ext cx="252717" cy="275891"/>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9" name="Group 8">
              <a:extLst>
                <a:ext uri="{FF2B5EF4-FFF2-40B4-BE49-F238E27FC236}">
                  <a16:creationId xmlns:a16="http://schemas.microsoft.com/office/drawing/2014/main" id="{90E79499-7BDD-4D2D-8A6B-AA4F97647D0E}"/>
                </a:ext>
              </a:extLst>
            </p:cNvPr>
            <p:cNvGrpSpPr/>
            <p:nvPr/>
          </p:nvGrpSpPr>
          <p:grpSpPr>
            <a:xfrm>
              <a:off x="3913227" y="4484383"/>
              <a:ext cx="502355" cy="433065"/>
              <a:chOff x="3913227" y="4484383"/>
              <a:chExt cx="502355" cy="433065"/>
            </a:xfrm>
          </p:grpSpPr>
          <p:sp>
            <p:nvSpPr>
              <p:cNvPr id="102" name="Hexagon 101">
                <a:extLst>
                  <a:ext uri="{FF2B5EF4-FFF2-40B4-BE49-F238E27FC236}">
                    <a16:creationId xmlns:a16="http://schemas.microsoft.com/office/drawing/2014/main" id="{97FA2269-3A83-461E-AFD5-B227577B1953}"/>
                  </a:ext>
                </a:extLst>
              </p:cNvPr>
              <p:cNvSpPr/>
              <p:nvPr/>
            </p:nvSpPr>
            <p:spPr bwMode="auto">
              <a:xfrm>
                <a:off x="3913227"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5" name="phone_6" title="Icon of a cellphone with a checkmark on the lower right corner">
                <a:extLst>
                  <a:ext uri="{FF2B5EF4-FFF2-40B4-BE49-F238E27FC236}">
                    <a16:creationId xmlns:a16="http://schemas.microsoft.com/office/drawing/2014/main" id="{03378723-52F2-4C55-9424-861466AB99A4}"/>
                  </a:ext>
                </a:extLst>
              </p:cNvPr>
              <p:cNvSpPr>
                <a:spLocks noChangeAspect="1" noEditPoints="1"/>
              </p:cNvSpPr>
              <p:nvPr/>
            </p:nvSpPr>
            <p:spPr bwMode="auto">
              <a:xfrm>
                <a:off x="4049046" y="4555986"/>
                <a:ext cx="230718" cy="289858"/>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8" name="Group 7">
              <a:extLst>
                <a:ext uri="{FF2B5EF4-FFF2-40B4-BE49-F238E27FC236}">
                  <a16:creationId xmlns:a16="http://schemas.microsoft.com/office/drawing/2014/main" id="{AD21BFE8-8462-4D32-BF00-18E92366735A}"/>
                </a:ext>
              </a:extLst>
            </p:cNvPr>
            <p:cNvGrpSpPr/>
            <p:nvPr/>
          </p:nvGrpSpPr>
          <p:grpSpPr>
            <a:xfrm>
              <a:off x="5854656" y="3334787"/>
              <a:ext cx="502355" cy="433065"/>
              <a:chOff x="5854656" y="3334787"/>
              <a:chExt cx="502355" cy="433065"/>
            </a:xfrm>
          </p:grpSpPr>
          <p:sp>
            <p:nvSpPr>
              <p:cNvPr id="107" name="Hexagon 106">
                <a:extLst>
                  <a:ext uri="{FF2B5EF4-FFF2-40B4-BE49-F238E27FC236}">
                    <a16:creationId xmlns:a16="http://schemas.microsoft.com/office/drawing/2014/main" id="{272ECFDB-B155-45FB-B75E-29A2DC43EDDD}"/>
                  </a:ext>
                </a:extLst>
              </p:cNvPr>
              <p:cNvSpPr/>
              <p:nvPr/>
            </p:nvSpPr>
            <p:spPr bwMode="auto">
              <a:xfrm>
                <a:off x="5854656" y="3334787"/>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6" name="shield_3" title="Icon of a shield with an exclamation point inside">
                <a:extLst>
                  <a:ext uri="{FF2B5EF4-FFF2-40B4-BE49-F238E27FC236}">
                    <a16:creationId xmlns:a16="http://schemas.microsoft.com/office/drawing/2014/main" id="{54D8C5F1-F41B-44E9-ADB7-47432E27BFE1}"/>
                  </a:ext>
                </a:extLst>
              </p:cNvPr>
              <p:cNvSpPr>
                <a:spLocks noChangeAspect="1" noEditPoints="1"/>
              </p:cNvSpPr>
              <p:nvPr/>
            </p:nvSpPr>
            <p:spPr bwMode="auto">
              <a:xfrm>
                <a:off x="5979475" y="3423253"/>
                <a:ext cx="252717" cy="25613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10" name="Group 9">
              <a:extLst>
                <a:ext uri="{FF2B5EF4-FFF2-40B4-BE49-F238E27FC236}">
                  <a16:creationId xmlns:a16="http://schemas.microsoft.com/office/drawing/2014/main" id="{A0623374-8F4A-42BD-8833-8108AD113190}"/>
                </a:ext>
              </a:extLst>
            </p:cNvPr>
            <p:cNvGrpSpPr/>
            <p:nvPr/>
          </p:nvGrpSpPr>
          <p:grpSpPr>
            <a:xfrm>
              <a:off x="7806752" y="4484383"/>
              <a:ext cx="502355" cy="433065"/>
              <a:chOff x="7806752" y="4484383"/>
              <a:chExt cx="502355" cy="433065"/>
            </a:xfrm>
          </p:grpSpPr>
          <p:sp>
            <p:nvSpPr>
              <p:cNvPr id="112" name="Hexagon 111">
                <a:extLst>
                  <a:ext uri="{FF2B5EF4-FFF2-40B4-BE49-F238E27FC236}">
                    <a16:creationId xmlns:a16="http://schemas.microsoft.com/office/drawing/2014/main" id="{E88CA282-0274-48D0-B21B-F697E7EFC6A2}"/>
                  </a:ext>
                </a:extLst>
              </p:cNvPr>
              <p:cNvSpPr/>
              <p:nvPr/>
            </p:nvSpPr>
            <p:spPr bwMode="auto">
              <a:xfrm>
                <a:off x="7806752"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7" name="Graphic 72">
                <a:extLst>
                  <a:ext uri="{FF2B5EF4-FFF2-40B4-BE49-F238E27FC236}">
                    <a16:creationId xmlns:a16="http://schemas.microsoft.com/office/drawing/2014/main" id="{925BDA7E-5F7A-42FD-A9D2-A900E5D0879A}"/>
                  </a:ext>
                </a:extLst>
              </p:cNvPr>
              <p:cNvSpPr/>
              <p:nvPr/>
            </p:nvSpPr>
            <p:spPr>
              <a:xfrm>
                <a:off x="7931571" y="4562970"/>
                <a:ext cx="252717" cy="275891"/>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685775"/>
                <a:endParaRPr lang="en-IN" sz="1765">
                  <a:solidFill>
                    <a:srgbClr val="3C3C41"/>
                  </a:solidFill>
                  <a:latin typeface="Segoe UI"/>
                </a:endParaRPr>
              </a:p>
            </p:txBody>
          </p:sp>
        </p:grpSp>
      </p:grpSp>
      <p:grpSp>
        <p:nvGrpSpPr>
          <p:cNvPr id="2" name="Group 1">
            <a:extLst>
              <a:ext uri="{FF2B5EF4-FFF2-40B4-BE49-F238E27FC236}">
                <a16:creationId xmlns:a16="http://schemas.microsoft.com/office/drawing/2014/main" id="{E62E88BB-64DF-48C0-B000-76DFCC99CC68}"/>
              </a:ext>
            </a:extLst>
          </p:cNvPr>
          <p:cNvGrpSpPr/>
          <p:nvPr/>
        </p:nvGrpSpPr>
        <p:grpSpPr>
          <a:xfrm>
            <a:off x="8025245" y="-310978"/>
            <a:ext cx="1667349" cy="1376624"/>
            <a:chOff x="10308253" y="-1239842"/>
            <a:chExt cx="2954665" cy="2439479"/>
          </a:xfrm>
        </p:grpSpPr>
        <p:sp>
          <p:nvSpPr>
            <p:cNvPr id="23" name="Hexagon 22">
              <a:extLst>
                <a:ext uri="{FF2B5EF4-FFF2-40B4-BE49-F238E27FC236}">
                  <a16:creationId xmlns:a16="http://schemas.microsoft.com/office/drawing/2014/main" id="{2E039853-C813-4BE5-AA44-EF14B826C69A}"/>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4" name="Hexagon 23">
              <a:extLst>
                <a:ext uri="{FF2B5EF4-FFF2-40B4-BE49-F238E27FC236}">
                  <a16:creationId xmlns:a16="http://schemas.microsoft.com/office/drawing/2014/main" id="{FF7D9B27-31FA-4CD6-BD99-88768B446A25}"/>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50992658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44">
            <a:extLst>
              <a:ext uri="{FF2B5EF4-FFF2-40B4-BE49-F238E27FC236}">
                <a16:creationId xmlns:a16="http://schemas.microsoft.com/office/drawing/2014/main" id="{AB1965AD-BED4-4BC0-B0FF-029BD22059D4}"/>
              </a:ext>
            </a:extLst>
          </p:cNvPr>
          <p:cNvSpPr/>
          <p:nvPr/>
        </p:nvSpPr>
        <p:spPr bwMode="auto">
          <a:xfrm>
            <a:off x="5804347"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4593884-170D-4ECF-AB61-4E3D8AF56A1A}"/>
              </a:ext>
            </a:extLst>
          </p:cNvPr>
          <p:cNvSpPr/>
          <p:nvPr/>
        </p:nvSpPr>
        <p:spPr bwMode="auto">
          <a:xfrm>
            <a:off x="72605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47" name="Oval 46">
            <a:extLst>
              <a:ext uri="{FF2B5EF4-FFF2-40B4-BE49-F238E27FC236}">
                <a16:creationId xmlns:a16="http://schemas.microsoft.com/office/drawing/2014/main" id="{CBBB1576-6E1B-4985-A6C3-D1B6F3B8BC1F}"/>
              </a:ext>
            </a:extLst>
          </p:cNvPr>
          <p:cNvSpPr/>
          <p:nvPr/>
        </p:nvSpPr>
        <p:spPr bwMode="auto">
          <a:xfrm>
            <a:off x="72605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Key out-of-box security roles you need to know</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59" name="Freeform: Shape 58">
            <a:extLst>
              <a:ext uri="{FF2B5EF4-FFF2-40B4-BE49-F238E27FC236}">
                <a16:creationId xmlns:a16="http://schemas.microsoft.com/office/drawing/2014/main" id="{6A47ECAE-111F-4131-9F09-663717C4DE98}"/>
              </a:ext>
            </a:extLst>
          </p:cNvPr>
          <p:cNvSpPr/>
          <p:nvPr/>
        </p:nvSpPr>
        <p:spPr bwMode="auto">
          <a:xfrm>
            <a:off x="237529" y="1877355"/>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362037 w 2502351"/>
              <a:gd name="connsiteY3" fmla="*/ 533746 h 2525242"/>
              <a:gd name="connsiteX4" fmla="*/ 1362037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9" fmla="*/ 1453477 w 2502351"/>
              <a:gd name="connsiteY9" fmla="*/ 625186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0" fmla="*/ 1362037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6868AA6F-3433-4303-811F-B1F84E05477F}"/>
              </a:ext>
            </a:extLst>
          </p:cNvPr>
          <p:cNvSpPr/>
          <p:nvPr/>
        </p:nvSpPr>
        <p:spPr bwMode="auto">
          <a:xfrm>
            <a:off x="2051488" y="1909626"/>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33394 w 2502351"/>
              <a:gd name="connsiteY3" fmla="*/ 533746 h 2525242"/>
              <a:gd name="connsiteX4" fmla="*/ 1433394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9" fmla="*/ 1524834 w 2502351"/>
              <a:gd name="connsiteY9" fmla="*/ 2082936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33394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0D9B519A-BD5E-45D3-A790-9221E63C5944}"/>
              </a:ext>
            </a:extLst>
          </p:cNvPr>
          <p:cNvSpPr/>
          <p:nvPr/>
        </p:nvSpPr>
        <p:spPr bwMode="auto">
          <a:xfrm>
            <a:off x="3938546"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B4B36C1C-7B68-4C3B-AB6F-225F45DA957E}"/>
              </a:ext>
            </a:extLst>
          </p:cNvPr>
          <p:cNvSpPr/>
          <p:nvPr/>
        </p:nvSpPr>
        <p:spPr bwMode="auto">
          <a:xfrm>
            <a:off x="383720" y="2018381"/>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107571" rIns="67232" bIns="107571" numCol="1" spcCol="0" rtlCol="0" fromWordArt="0" anchor="ctr" anchorCtr="0" forceAA="0" compatLnSpc="1">
            <a:prstTxWarp prst="textNoShape">
              <a:avLst/>
            </a:prstTxWarp>
            <a:noAutofit/>
          </a:bodyPr>
          <a:lstStyle/>
          <a:p>
            <a:pPr algn="ctr" defTabSz="685775">
              <a:lnSpc>
                <a:spcPct val="107000"/>
              </a:lnSpc>
            </a:pPr>
            <a:r>
              <a:rPr lang="en-US" sz="1100" dirty="0">
                <a:solidFill>
                  <a:srgbClr val="3C3C41"/>
                </a:solidFill>
                <a:latin typeface="Segoe UI Semibold" panose="020B0702040204020203" pitchFamily="34" charset="0"/>
                <a:cs typeface="Segoe UI Semibold" panose="020B0702040204020203" pitchFamily="34" charset="0"/>
              </a:rPr>
              <a:t>Environment</a:t>
            </a:r>
            <a:br>
              <a:rPr lang="en-US" sz="1100" dirty="0">
                <a:solidFill>
                  <a:srgbClr val="3C3C41"/>
                </a:solidFill>
                <a:latin typeface="Segoe UI Semibold" panose="020B0702040204020203" pitchFamily="34" charset="0"/>
                <a:cs typeface="Segoe UI Semibold" panose="020B0702040204020203" pitchFamily="34" charset="0"/>
              </a:rPr>
            </a:br>
            <a:r>
              <a:rPr lang="en-US" sz="1100" dirty="0">
                <a:solidFill>
                  <a:srgbClr val="3C3C41"/>
                </a:solidFill>
                <a:latin typeface="Segoe UI Semibold" panose="020B0702040204020203" pitchFamily="34" charset="0"/>
                <a:cs typeface="Segoe UI Semibold" panose="020B0702040204020203" pitchFamily="34" charset="0"/>
              </a:rPr>
              <a:t>Admin</a:t>
            </a:r>
          </a:p>
        </p:txBody>
      </p:sp>
      <p:sp>
        <p:nvSpPr>
          <p:cNvPr id="51" name="Hexagon 50">
            <a:extLst>
              <a:ext uri="{FF2B5EF4-FFF2-40B4-BE49-F238E27FC236}">
                <a16:creationId xmlns:a16="http://schemas.microsoft.com/office/drawing/2014/main" id="{693AC5E9-7DBB-4C90-B816-8F16AA79D11D}"/>
              </a:ext>
            </a:extLst>
          </p:cNvPr>
          <p:cNvSpPr/>
          <p:nvPr/>
        </p:nvSpPr>
        <p:spPr bwMode="auto">
          <a:xfrm>
            <a:off x="2164946" y="2022050"/>
            <a:ext cx="1461557"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cs typeface="Segoe UI Semibold" panose="020B0702040204020203" pitchFamily="34" charset="0"/>
              </a:rPr>
              <a:t>Environment Maker</a:t>
            </a:r>
            <a:endPar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2" name="Hexagon 51">
            <a:extLst>
              <a:ext uri="{FF2B5EF4-FFF2-40B4-BE49-F238E27FC236}">
                <a16:creationId xmlns:a16="http://schemas.microsoft.com/office/drawing/2014/main" id="{B4BECB40-A16D-4FD9-B4CE-5468C24E765A}"/>
              </a:ext>
            </a:extLst>
          </p:cNvPr>
          <p:cNvSpPr/>
          <p:nvPr/>
        </p:nvSpPr>
        <p:spPr bwMode="auto">
          <a:xfrm>
            <a:off x="4082483"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dirty="0">
                <a:solidFill>
                  <a:srgbClr val="3C3C41"/>
                </a:solidFill>
                <a:latin typeface="Segoe UI Semibold" panose="020B0702040204020203" pitchFamily="34" charset="0"/>
                <a:cs typeface="Segoe UI Semibold" panose="020B0702040204020203" pitchFamily="34" charset="0"/>
              </a:rPr>
              <a:t>Common Data Service User</a:t>
            </a:r>
            <a:endParaRPr lang="en-US" sz="11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3" name="Hexagon 52">
            <a:extLst>
              <a:ext uri="{FF2B5EF4-FFF2-40B4-BE49-F238E27FC236}">
                <a16:creationId xmlns:a16="http://schemas.microsoft.com/office/drawing/2014/main" id="{92205109-7198-4C8F-85ED-3BF34573FF25}"/>
              </a:ext>
            </a:extLst>
          </p:cNvPr>
          <p:cNvSpPr/>
          <p:nvPr/>
        </p:nvSpPr>
        <p:spPr bwMode="auto">
          <a:xfrm>
            <a:off x="5948285"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Admin</a:t>
            </a:r>
          </a:p>
        </p:txBody>
      </p:sp>
      <p:sp>
        <p:nvSpPr>
          <p:cNvPr id="60" name="Oval 59">
            <a:extLst>
              <a:ext uri="{FF2B5EF4-FFF2-40B4-BE49-F238E27FC236}">
                <a16:creationId xmlns:a16="http://schemas.microsoft.com/office/drawing/2014/main" id="{6C32CEFC-C231-4D61-8E48-25F316161283}"/>
              </a:ext>
            </a:extLst>
          </p:cNvPr>
          <p:cNvSpPr/>
          <p:nvPr/>
        </p:nvSpPr>
        <p:spPr bwMode="auto">
          <a:xfrm>
            <a:off x="1691567" y="2261385"/>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1" name="Oval 60">
            <a:extLst>
              <a:ext uri="{FF2B5EF4-FFF2-40B4-BE49-F238E27FC236}">
                <a16:creationId xmlns:a16="http://schemas.microsoft.com/office/drawing/2014/main" id="{9664C188-331E-44CF-B512-41DE542C2693}"/>
              </a:ext>
            </a:extLst>
          </p:cNvPr>
          <p:cNvSpPr/>
          <p:nvPr/>
        </p:nvSpPr>
        <p:spPr bwMode="auto">
          <a:xfrm>
            <a:off x="3515830" y="229365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2" name="Oval 61">
            <a:extLst>
              <a:ext uri="{FF2B5EF4-FFF2-40B4-BE49-F238E27FC236}">
                <a16:creationId xmlns:a16="http://schemas.microsoft.com/office/drawing/2014/main" id="{F9C420FC-9C02-487D-BAF9-D93E6D13D3AC}"/>
              </a:ext>
            </a:extLst>
          </p:cNvPr>
          <p:cNvSpPr/>
          <p:nvPr/>
        </p:nvSpPr>
        <p:spPr bwMode="auto">
          <a:xfrm>
            <a:off x="53947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3" name="Oval 62">
            <a:extLst>
              <a:ext uri="{FF2B5EF4-FFF2-40B4-BE49-F238E27FC236}">
                <a16:creationId xmlns:a16="http://schemas.microsoft.com/office/drawing/2014/main" id="{9758D22F-89A3-4694-9DE6-A7CDF27B3127}"/>
              </a:ext>
            </a:extLst>
          </p:cNvPr>
          <p:cNvSpPr/>
          <p:nvPr/>
        </p:nvSpPr>
        <p:spPr bwMode="auto">
          <a:xfrm>
            <a:off x="1691567" y="3242970"/>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4" name="Oval 63">
            <a:extLst>
              <a:ext uri="{FF2B5EF4-FFF2-40B4-BE49-F238E27FC236}">
                <a16:creationId xmlns:a16="http://schemas.microsoft.com/office/drawing/2014/main" id="{307F6C1F-0DD5-4035-902A-73E778C2AC8F}"/>
              </a:ext>
            </a:extLst>
          </p:cNvPr>
          <p:cNvSpPr/>
          <p:nvPr/>
        </p:nvSpPr>
        <p:spPr bwMode="auto">
          <a:xfrm>
            <a:off x="3515830" y="327524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5" name="Oval 64">
            <a:extLst>
              <a:ext uri="{FF2B5EF4-FFF2-40B4-BE49-F238E27FC236}">
                <a16:creationId xmlns:a16="http://schemas.microsoft.com/office/drawing/2014/main" id="{BC1B28AA-304A-4C63-83B9-CA469D1F3B18}"/>
              </a:ext>
            </a:extLst>
          </p:cNvPr>
          <p:cNvSpPr/>
          <p:nvPr/>
        </p:nvSpPr>
        <p:spPr bwMode="auto">
          <a:xfrm>
            <a:off x="53947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6" name="Hexagon 65">
            <a:extLst>
              <a:ext uri="{FF2B5EF4-FFF2-40B4-BE49-F238E27FC236}">
                <a16:creationId xmlns:a16="http://schemas.microsoft.com/office/drawing/2014/main" id="{31F9F647-954D-40D9-91D6-9EF1163BBD3B}"/>
              </a:ext>
            </a:extLst>
          </p:cNvPr>
          <p:cNvSpPr/>
          <p:nvPr/>
        </p:nvSpPr>
        <p:spPr bwMode="auto">
          <a:xfrm>
            <a:off x="0" y="1784359"/>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7" name="Hexagon 66">
            <a:extLst>
              <a:ext uri="{FF2B5EF4-FFF2-40B4-BE49-F238E27FC236}">
                <a16:creationId xmlns:a16="http://schemas.microsoft.com/office/drawing/2014/main" id="{DABF3F5D-986D-4B34-B980-3908F9AB0664}"/>
              </a:ext>
            </a:extLst>
          </p:cNvPr>
          <p:cNvSpPr/>
          <p:nvPr/>
        </p:nvSpPr>
        <p:spPr bwMode="auto">
          <a:xfrm>
            <a:off x="1813957" y="1816630"/>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8" name="Hexagon 67">
            <a:extLst>
              <a:ext uri="{FF2B5EF4-FFF2-40B4-BE49-F238E27FC236}">
                <a16:creationId xmlns:a16="http://schemas.microsoft.com/office/drawing/2014/main" id="{87C07B0F-1C92-4685-938E-85B0C51B2AD1}"/>
              </a:ext>
            </a:extLst>
          </p:cNvPr>
          <p:cNvSpPr/>
          <p:nvPr/>
        </p:nvSpPr>
        <p:spPr bwMode="auto">
          <a:xfrm>
            <a:off x="3701016"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9" name="Hexagon 68">
            <a:extLst>
              <a:ext uri="{FF2B5EF4-FFF2-40B4-BE49-F238E27FC236}">
                <a16:creationId xmlns:a16="http://schemas.microsoft.com/office/drawing/2014/main" id="{EB8BDB8D-918F-4278-BE60-79390549168A}"/>
              </a:ext>
            </a:extLst>
          </p:cNvPr>
          <p:cNvSpPr/>
          <p:nvPr/>
        </p:nvSpPr>
        <p:spPr bwMode="auto">
          <a:xfrm>
            <a:off x="5566817"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70" name="Group 69">
            <a:extLst>
              <a:ext uri="{FF2B5EF4-FFF2-40B4-BE49-F238E27FC236}">
                <a16:creationId xmlns:a16="http://schemas.microsoft.com/office/drawing/2014/main" id="{4BC59A1E-BAC6-4EF5-B635-C78CCFFD03C2}"/>
              </a:ext>
            </a:extLst>
          </p:cNvPr>
          <p:cNvGrpSpPr/>
          <p:nvPr/>
        </p:nvGrpSpPr>
        <p:grpSpPr>
          <a:xfrm>
            <a:off x="105123" y="1922244"/>
            <a:ext cx="317125" cy="174871"/>
            <a:chOff x="8500699" y="3331798"/>
            <a:chExt cx="545783" cy="314325"/>
          </a:xfrm>
        </p:grpSpPr>
        <p:sp>
          <p:nvSpPr>
            <p:cNvPr id="71" name="Freeform: Shape 70">
              <a:extLst>
                <a:ext uri="{FF2B5EF4-FFF2-40B4-BE49-F238E27FC236}">
                  <a16:creationId xmlns:a16="http://schemas.microsoft.com/office/drawing/2014/main" id="{558EA9BB-9E1A-4E03-8C5D-EF902D0D65CF}"/>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2" name="Freeform: Shape 71">
              <a:extLst>
                <a:ext uri="{FF2B5EF4-FFF2-40B4-BE49-F238E27FC236}">
                  <a16:creationId xmlns:a16="http://schemas.microsoft.com/office/drawing/2014/main" id="{A8662424-EE50-470F-A03D-72C716C8FEDA}"/>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3" name="Freeform: Shape 72">
              <a:extLst>
                <a:ext uri="{FF2B5EF4-FFF2-40B4-BE49-F238E27FC236}">
                  <a16:creationId xmlns:a16="http://schemas.microsoft.com/office/drawing/2014/main" id="{DA6AD8BC-8400-469F-80CF-EE3110B22E3B}"/>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4" name="Freeform: Shape 73">
              <a:extLst>
                <a:ext uri="{FF2B5EF4-FFF2-40B4-BE49-F238E27FC236}">
                  <a16:creationId xmlns:a16="http://schemas.microsoft.com/office/drawing/2014/main" id="{132001DC-9223-4003-B98F-EDB14189FBAC}"/>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5" name="Freeform: Shape 74">
              <a:extLst>
                <a:ext uri="{FF2B5EF4-FFF2-40B4-BE49-F238E27FC236}">
                  <a16:creationId xmlns:a16="http://schemas.microsoft.com/office/drawing/2014/main" id="{8516CEFE-5229-4F92-916A-C1927A7C8D80}"/>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grpSp>
        <p:nvGrpSpPr>
          <p:cNvPr id="76" name="Group 75">
            <a:extLst>
              <a:ext uri="{FF2B5EF4-FFF2-40B4-BE49-F238E27FC236}">
                <a16:creationId xmlns:a16="http://schemas.microsoft.com/office/drawing/2014/main" id="{CAB8BF48-43A5-4827-9F5B-67BEAD5F2FA6}"/>
              </a:ext>
            </a:extLst>
          </p:cNvPr>
          <p:cNvGrpSpPr/>
          <p:nvPr/>
        </p:nvGrpSpPr>
        <p:grpSpPr>
          <a:xfrm>
            <a:off x="1927244" y="1900994"/>
            <a:ext cx="268035" cy="256638"/>
            <a:chOff x="4200434" y="3369219"/>
            <a:chExt cx="247650" cy="247650"/>
          </a:xfrm>
          <a:solidFill>
            <a:schemeClr val="tx1"/>
          </a:solidFill>
        </p:grpSpPr>
        <p:sp>
          <p:nvSpPr>
            <p:cNvPr id="77" name="Freeform: Shape 76">
              <a:extLst>
                <a:ext uri="{FF2B5EF4-FFF2-40B4-BE49-F238E27FC236}">
                  <a16:creationId xmlns:a16="http://schemas.microsoft.com/office/drawing/2014/main" id="{98E787BE-B272-4F36-94F5-B2CAFE0A8C58}"/>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8" name="Freeform: Shape 77">
              <a:extLst>
                <a:ext uri="{FF2B5EF4-FFF2-40B4-BE49-F238E27FC236}">
                  <a16:creationId xmlns:a16="http://schemas.microsoft.com/office/drawing/2014/main" id="{D2D1D983-0AAA-45BB-BD0F-A78AEB248FC0}"/>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79" name="ID" title="Icon of a person with three stacked lines of text to the right of them">
            <a:extLst>
              <a:ext uri="{FF2B5EF4-FFF2-40B4-BE49-F238E27FC236}">
                <a16:creationId xmlns:a16="http://schemas.microsoft.com/office/drawing/2014/main" id="{00B9EAFC-1104-4C39-9FD2-F44660275E38}"/>
              </a:ext>
            </a:extLst>
          </p:cNvPr>
          <p:cNvSpPr>
            <a:spLocks noChangeAspect="1" noEditPoints="1"/>
          </p:cNvSpPr>
          <p:nvPr/>
        </p:nvSpPr>
        <p:spPr bwMode="auto">
          <a:xfrm>
            <a:off x="5683547" y="1967764"/>
            <a:ext cx="299636" cy="17817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050">
              <a:solidFill>
                <a:srgbClr val="3C3C41"/>
              </a:solidFill>
              <a:latin typeface="Segoe UI"/>
            </a:endParaRPr>
          </a:p>
        </p:txBody>
      </p:sp>
      <p:grpSp>
        <p:nvGrpSpPr>
          <p:cNvPr id="80" name="Group 79">
            <a:extLst>
              <a:ext uri="{FF2B5EF4-FFF2-40B4-BE49-F238E27FC236}">
                <a16:creationId xmlns:a16="http://schemas.microsoft.com/office/drawing/2014/main" id="{8D3CBBAA-A72E-4638-8225-2B631B261D14}"/>
              </a:ext>
            </a:extLst>
          </p:cNvPr>
          <p:cNvGrpSpPr/>
          <p:nvPr/>
        </p:nvGrpSpPr>
        <p:grpSpPr>
          <a:xfrm>
            <a:off x="3825122" y="1949629"/>
            <a:ext cx="260369" cy="235688"/>
            <a:chOff x="5307912" y="3331791"/>
            <a:chExt cx="331470" cy="313373"/>
          </a:xfrm>
        </p:grpSpPr>
        <p:sp>
          <p:nvSpPr>
            <p:cNvPr id="81" name="Freeform: Shape 80">
              <a:extLst>
                <a:ext uri="{FF2B5EF4-FFF2-40B4-BE49-F238E27FC236}">
                  <a16:creationId xmlns:a16="http://schemas.microsoft.com/office/drawing/2014/main" id="{C4ADA722-446D-4CE5-920A-516F284540A6}"/>
                </a:ext>
              </a:extLst>
            </p:cNvPr>
            <p:cNvSpPr/>
            <p:nvPr/>
          </p:nvSpPr>
          <p:spPr>
            <a:xfrm>
              <a:off x="5363157" y="3331791"/>
              <a:ext cx="276225" cy="257175"/>
            </a:xfrm>
            <a:custGeom>
              <a:avLst/>
              <a:gdLst>
                <a:gd name="connsiteX0" fmla="*/ 7355 w 276225"/>
                <a:gd name="connsiteY0" fmla="*/ 7355 h 257175"/>
                <a:gd name="connsiteX1" fmla="*/ 275008 w 276225"/>
                <a:gd name="connsiteY1" fmla="*/ 7355 h 257175"/>
                <a:gd name="connsiteX2" fmla="*/ 275008 w 276225"/>
                <a:gd name="connsiteY2" fmla="*/ 250243 h 257175"/>
                <a:gd name="connsiteX3" fmla="*/ 7355 w 276225"/>
                <a:gd name="connsiteY3" fmla="*/ 250243 h 257175"/>
              </a:gdLst>
              <a:ahLst/>
              <a:cxnLst>
                <a:cxn ang="0">
                  <a:pos x="connsiteX0" y="connsiteY0"/>
                </a:cxn>
                <a:cxn ang="0">
                  <a:pos x="connsiteX1" y="connsiteY1"/>
                </a:cxn>
                <a:cxn ang="0">
                  <a:pos x="connsiteX2" y="connsiteY2"/>
                </a:cxn>
                <a:cxn ang="0">
                  <a:pos x="connsiteX3" y="connsiteY3"/>
                </a:cxn>
              </a:cxnLst>
              <a:rect l="l" t="t" r="r" b="b"/>
              <a:pathLst>
                <a:path w="276225" h="257175">
                  <a:moveTo>
                    <a:pt x="7355" y="7355"/>
                  </a:moveTo>
                  <a:lnTo>
                    <a:pt x="275008" y="7355"/>
                  </a:lnTo>
                  <a:lnTo>
                    <a:pt x="275008" y="250243"/>
                  </a:lnTo>
                  <a:lnTo>
                    <a:pt x="7355" y="25024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2" name="Freeform: Shape 81">
              <a:extLst>
                <a:ext uri="{FF2B5EF4-FFF2-40B4-BE49-F238E27FC236}">
                  <a16:creationId xmlns:a16="http://schemas.microsoft.com/office/drawing/2014/main" id="{CE211A5C-29DA-4A2F-B9F0-B227E5A7FA5C}"/>
                </a:ext>
              </a:extLst>
            </p:cNvPr>
            <p:cNvSpPr/>
            <p:nvPr/>
          </p:nvSpPr>
          <p:spPr>
            <a:xfrm>
              <a:off x="5307912" y="3397514"/>
              <a:ext cx="247650" cy="247650"/>
            </a:xfrm>
            <a:custGeom>
              <a:avLst/>
              <a:gdLst>
                <a:gd name="connsiteX0" fmla="*/ 7355 w 247650"/>
                <a:gd name="connsiteY0" fmla="*/ 7355 h 247650"/>
                <a:gd name="connsiteX1" fmla="*/ 7355 w 247650"/>
                <a:gd name="connsiteY1" fmla="*/ 235955 h 247650"/>
                <a:gd name="connsiteX2" fmla="*/ 14975 w 247650"/>
                <a:gd name="connsiteY2" fmla="*/ 243575 h 247650"/>
                <a:gd name="connsiteX3" fmla="*/ 245480 w 247650"/>
                <a:gd name="connsiteY3" fmla="*/ 243575 h 247650"/>
              </a:gdLst>
              <a:ahLst/>
              <a:cxnLst>
                <a:cxn ang="0">
                  <a:pos x="connsiteX0" y="connsiteY0"/>
                </a:cxn>
                <a:cxn ang="0">
                  <a:pos x="connsiteX1" y="connsiteY1"/>
                </a:cxn>
                <a:cxn ang="0">
                  <a:pos x="connsiteX2" y="connsiteY2"/>
                </a:cxn>
                <a:cxn ang="0">
                  <a:pos x="connsiteX3" y="connsiteY3"/>
                </a:cxn>
              </a:cxnLst>
              <a:rect l="l" t="t" r="r" b="b"/>
              <a:pathLst>
                <a:path w="247650" h="247650">
                  <a:moveTo>
                    <a:pt x="7355" y="7355"/>
                  </a:moveTo>
                  <a:lnTo>
                    <a:pt x="7355" y="235955"/>
                  </a:lnTo>
                  <a:cubicBezTo>
                    <a:pt x="7355" y="240718"/>
                    <a:pt x="11165" y="243575"/>
                    <a:pt x="14975" y="243575"/>
                  </a:cubicBezTo>
                  <a:lnTo>
                    <a:pt x="245480" y="24357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3" name="Freeform: Shape 82">
              <a:extLst>
                <a:ext uri="{FF2B5EF4-FFF2-40B4-BE49-F238E27FC236}">
                  <a16:creationId xmlns:a16="http://schemas.microsoft.com/office/drawing/2014/main" id="{A5E551DC-08DD-48C6-A053-9D5F8B93A792}"/>
                </a:ext>
              </a:extLst>
            </p:cNvPr>
            <p:cNvSpPr/>
            <p:nvPr/>
          </p:nvSpPr>
          <p:spPr>
            <a:xfrm>
              <a:off x="5496507" y="3407039"/>
              <a:ext cx="9525" cy="95250"/>
            </a:xfrm>
            <a:custGeom>
              <a:avLst/>
              <a:gdLst>
                <a:gd name="connsiteX0" fmla="*/ 7355 w 9525"/>
                <a:gd name="connsiteY0" fmla="*/ 7355 h 95250"/>
                <a:gd name="connsiteX1" fmla="*/ 7355 w 9525"/>
                <a:gd name="connsiteY1" fmla="*/ 92128 h 95250"/>
              </a:gdLst>
              <a:ahLst/>
              <a:cxnLst>
                <a:cxn ang="0">
                  <a:pos x="connsiteX0" y="connsiteY0"/>
                </a:cxn>
                <a:cxn ang="0">
                  <a:pos x="connsiteX1" y="connsiteY1"/>
                </a:cxn>
              </a:cxnLst>
              <a:rect l="l" t="t" r="r" b="b"/>
              <a:pathLst>
                <a:path w="9525" h="95250">
                  <a:moveTo>
                    <a:pt x="7355" y="7355"/>
                  </a:moveTo>
                  <a:lnTo>
                    <a:pt x="7355" y="9212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4" name="Freeform: Shape 83">
              <a:extLst>
                <a:ext uri="{FF2B5EF4-FFF2-40B4-BE49-F238E27FC236}">
                  <a16:creationId xmlns:a16="http://schemas.microsoft.com/office/drawing/2014/main" id="{1C6964C0-E344-49CF-B844-E07A0517FAD0}"/>
                </a:ext>
              </a:extLst>
            </p:cNvPr>
            <p:cNvSpPr/>
            <p:nvPr/>
          </p:nvSpPr>
          <p:spPr>
            <a:xfrm>
              <a:off x="5453644" y="3449901"/>
              <a:ext cx="95250" cy="9525"/>
            </a:xfrm>
            <a:custGeom>
              <a:avLst/>
              <a:gdLst>
                <a:gd name="connsiteX0" fmla="*/ 93080 w 95250"/>
                <a:gd name="connsiteY0" fmla="*/ 7355 h 9525"/>
                <a:gd name="connsiteX1" fmla="*/ 7355 w 95250"/>
                <a:gd name="connsiteY1" fmla="*/ 7355 h 9525"/>
              </a:gdLst>
              <a:ahLst/>
              <a:cxnLst>
                <a:cxn ang="0">
                  <a:pos x="connsiteX0" y="connsiteY0"/>
                </a:cxn>
                <a:cxn ang="0">
                  <a:pos x="connsiteX1" y="connsiteY1"/>
                </a:cxn>
              </a:cxnLst>
              <a:rect l="l" t="t" r="r" b="b"/>
              <a:pathLst>
                <a:path w="95250" h="9525">
                  <a:moveTo>
                    <a:pt x="93080" y="7355"/>
                  </a:move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3" name="Freeform: Shape 2">
            <a:extLst>
              <a:ext uri="{FF2B5EF4-FFF2-40B4-BE49-F238E27FC236}">
                <a16:creationId xmlns:a16="http://schemas.microsoft.com/office/drawing/2014/main" id="{148DE3BB-4E46-42DC-B9A8-A5B20ADDBB74}"/>
              </a:ext>
            </a:extLst>
          </p:cNvPr>
          <p:cNvSpPr/>
          <p:nvPr/>
        </p:nvSpPr>
        <p:spPr bwMode="auto">
          <a:xfrm>
            <a:off x="7597703" y="1970351"/>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6281F6-B95F-4F78-A014-1675C7B61557}"/>
              </a:ext>
            </a:extLst>
          </p:cNvPr>
          <p:cNvSpPr/>
          <p:nvPr/>
        </p:nvSpPr>
        <p:spPr bwMode="auto">
          <a:xfrm>
            <a:off x="9053955" y="235438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4" name="Oval 13">
            <a:extLst>
              <a:ext uri="{FF2B5EF4-FFF2-40B4-BE49-F238E27FC236}">
                <a16:creationId xmlns:a16="http://schemas.microsoft.com/office/drawing/2014/main" id="{D5BFFB30-AB03-41DC-BA2B-AF1A9F008987}"/>
              </a:ext>
            </a:extLst>
          </p:cNvPr>
          <p:cNvSpPr/>
          <p:nvPr/>
        </p:nvSpPr>
        <p:spPr bwMode="auto">
          <a:xfrm>
            <a:off x="9053955" y="333596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5" name="Hexagon 14">
            <a:extLst>
              <a:ext uri="{FF2B5EF4-FFF2-40B4-BE49-F238E27FC236}">
                <a16:creationId xmlns:a16="http://schemas.microsoft.com/office/drawing/2014/main" id="{7D108EB0-2FED-45D5-973C-8CDD4317EB4C}"/>
              </a:ext>
            </a:extLst>
          </p:cNvPr>
          <p:cNvSpPr/>
          <p:nvPr/>
        </p:nvSpPr>
        <p:spPr bwMode="auto">
          <a:xfrm>
            <a:off x="7741641" y="2107185"/>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Customizer</a:t>
            </a:r>
          </a:p>
        </p:txBody>
      </p:sp>
      <p:sp>
        <p:nvSpPr>
          <p:cNvPr id="16" name="Hexagon 15">
            <a:extLst>
              <a:ext uri="{FF2B5EF4-FFF2-40B4-BE49-F238E27FC236}">
                <a16:creationId xmlns:a16="http://schemas.microsoft.com/office/drawing/2014/main" id="{DC102EDF-C095-4B34-A27C-27ACD3D5DA61}"/>
              </a:ext>
            </a:extLst>
          </p:cNvPr>
          <p:cNvSpPr/>
          <p:nvPr/>
        </p:nvSpPr>
        <p:spPr bwMode="auto">
          <a:xfrm>
            <a:off x="7360174" y="1877356"/>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pic>
        <p:nvPicPr>
          <p:cNvPr id="19" name="Graphic 18" descr="Puzzle">
            <a:extLst>
              <a:ext uri="{FF2B5EF4-FFF2-40B4-BE49-F238E27FC236}">
                <a16:creationId xmlns:a16="http://schemas.microsoft.com/office/drawing/2014/main" id="{D3011409-93B8-43B3-A877-E42661B359C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1719" y="1936534"/>
            <a:ext cx="309611" cy="309611"/>
          </a:xfrm>
          <a:prstGeom prst="rect">
            <a:avLst/>
          </a:prstGeom>
        </p:spPr>
      </p:pic>
      <p:sp>
        <p:nvSpPr>
          <p:cNvPr id="86" name="TextBox 85">
            <a:extLst>
              <a:ext uri="{FF2B5EF4-FFF2-40B4-BE49-F238E27FC236}">
                <a16:creationId xmlns:a16="http://schemas.microsoft.com/office/drawing/2014/main" id="{5AD1E326-5FF6-42DB-93E2-616D353825D0}"/>
              </a:ext>
            </a:extLst>
          </p:cNvPr>
          <p:cNvSpPr txBox="1"/>
          <p:nvPr/>
        </p:nvSpPr>
        <p:spPr>
          <a:xfrm>
            <a:off x="223007" y="3702912"/>
            <a:ext cx="1590951" cy="1061829"/>
          </a:xfrm>
          <a:prstGeom prst="rect">
            <a:avLst/>
          </a:prstGeom>
          <a:noFill/>
        </p:spPr>
        <p:txBody>
          <a:bodyPr wrap="square">
            <a:spAutoFit/>
          </a:bodyPr>
          <a:lstStyle/>
          <a:p>
            <a:pPr algn="ctr"/>
            <a:r>
              <a:rPr lang="en-US" sz="1050" dirty="0">
                <a:solidFill>
                  <a:srgbClr val="3C3C41"/>
                </a:solidFill>
                <a:latin typeface="Segoe UI"/>
              </a:rPr>
              <a:t>Perform all environment level administrator tasks – User mgmt., </a:t>
            </a:r>
            <a:r>
              <a:rPr lang="en-US" sz="1050" dirty="0" err="1">
                <a:solidFill>
                  <a:srgbClr val="171717"/>
                </a:solidFill>
                <a:latin typeface="Segoe UI" panose="020B0502040204020203" pitchFamily="34" charset="0"/>
              </a:rPr>
              <a:t>Dataverse</a:t>
            </a:r>
            <a:r>
              <a:rPr lang="en-US" sz="1050" dirty="0">
                <a:solidFill>
                  <a:srgbClr val="171717"/>
                </a:solidFill>
                <a:latin typeface="Segoe UI" panose="020B0502040204020203" pitchFamily="34" charset="0"/>
              </a:rPr>
              <a:t> provisioning, Resource mgmt., DLP </a:t>
            </a:r>
            <a:r>
              <a:rPr lang="en-US" sz="1050" dirty="0" err="1">
                <a:solidFill>
                  <a:srgbClr val="171717"/>
                </a:solidFill>
                <a:latin typeface="Segoe UI" panose="020B0502040204020203" pitchFamily="34" charset="0"/>
              </a:rPr>
              <a:t>mgmt</a:t>
            </a:r>
            <a:r>
              <a:rPr lang="en-US" sz="1050" dirty="0">
                <a:solidFill>
                  <a:srgbClr val="171717"/>
                </a:solidFill>
                <a:latin typeface="Segoe UI" panose="020B0502040204020203" pitchFamily="34" charset="0"/>
              </a:rPr>
              <a:t> </a:t>
            </a:r>
            <a:r>
              <a:rPr lang="en-US" sz="1050" dirty="0" err="1">
                <a:solidFill>
                  <a:srgbClr val="171717"/>
                </a:solidFill>
                <a:latin typeface="Segoe UI" panose="020B0502040204020203" pitchFamily="34" charset="0"/>
              </a:rPr>
              <a:t>etc</a:t>
            </a:r>
            <a:endParaRPr lang="en-US" sz="1050" dirty="0">
              <a:solidFill>
                <a:srgbClr val="3C3C41"/>
              </a:solidFill>
              <a:latin typeface="Segoe UI"/>
            </a:endParaRPr>
          </a:p>
        </p:txBody>
      </p:sp>
      <p:sp>
        <p:nvSpPr>
          <p:cNvPr id="21" name="TextBox 20">
            <a:extLst>
              <a:ext uri="{FF2B5EF4-FFF2-40B4-BE49-F238E27FC236}">
                <a16:creationId xmlns:a16="http://schemas.microsoft.com/office/drawing/2014/main" id="{B3486616-DD7A-41B1-9D2F-F15EBFDDEFD8}"/>
              </a:ext>
            </a:extLst>
          </p:cNvPr>
          <p:cNvSpPr txBox="1"/>
          <p:nvPr/>
        </p:nvSpPr>
        <p:spPr>
          <a:xfrm>
            <a:off x="2036993" y="3702912"/>
            <a:ext cx="1590951" cy="738664"/>
          </a:xfrm>
          <a:prstGeom prst="rect">
            <a:avLst/>
          </a:prstGeom>
          <a:noFill/>
        </p:spPr>
        <p:txBody>
          <a:bodyPr wrap="square">
            <a:spAutoFit/>
          </a:bodyPr>
          <a:lstStyle/>
          <a:p>
            <a:pPr algn="ctr"/>
            <a:r>
              <a:rPr lang="en-US" sz="1050">
                <a:solidFill>
                  <a:srgbClr val="3C3C41"/>
                </a:solidFill>
                <a:latin typeface="Segoe UI"/>
              </a:rPr>
              <a:t>Resource creation – apps, connections, custom APIs, gateways, and flows</a:t>
            </a:r>
          </a:p>
        </p:txBody>
      </p:sp>
      <p:sp>
        <p:nvSpPr>
          <p:cNvPr id="22" name="TextBox 21">
            <a:extLst>
              <a:ext uri="{FF2B5EF4-FFF2-40B4-BE49-F238E27FC236}">
                <a16:creationId xmlns:a16="http://schemas.microsoft.com/office/drawing/2014/main" id="{19471DEA-1F71-42BF-B912-C0FF5FC09910}"/>
              </a:ext>
            </a:extLst>
          </p:cNvPr>
          <p:cNvSpPr txBox="1"/>
          <p:nvPr/>
        </p:nvSpPr>
        <p:spPr>
          <a:xfrm>
            <a:off x="3850979" y="3702912"/>
            <a:ext cx="1590951" cy="738664"/>
          </a:xfrm>
          <a:prstGeom prst="rect">
            <a:avLst/>
          </a:prstGeom>
          <a:noFill/>
        </p:spPr>
        <p:txBody>
          <a:bodyPr wrap="square">
            <a:spAutoFit/>
          </a:bodyPr>
          <a:lstStyle/>
          <a:p>
            <a:pPr algn="ctr"/>
            <a:r>
              <a:rPr lang="en-US" sz="1050" dirty="0">
                <a:solidFill>
                  <a:srgbClr val="3C3C41"/>
                </a:solidFill>
                <a:latin typeface="Segoe UI"/>
              </a:rPr>
              <a:t>Resource execution and </a:t>
            </a:r>
            <a:r>
              <a:rPr lang="en-US" sz="1050" dirty="0" err="1">
                <a:solidFill>
                  <a:srgbClr val="3C3C41"/>
                </a:solidFill>
                <a:latin typeface="Segoe UI"/>
              </a:rPr>
              <a:t>Dataverse</a:t>
            </a:r>
            <a:r>
              <a:rPr lang="en-US" sz="1050" dirty="0">
                <a:solidFill>
                  <a:srgbClr val="3C3C41"/>
                </a:solidFill>
                <a:latin typeface="Segoe UI"/>
              </a:rPr>
              <a:t> record mgmt. (that they own) for standard entities</a:t>
            </a:r>
          </a:p>
        </p:txBody>
      </p:sp>
      <p:sp>
        <p:nvSpPr>
          <p:cNvPr id="23" name="TextBox 22">
            <a:extLst>
              <a:ext uri="{FF2B5EF4-FFF2-40B4-BE49-F238E27FC236}">
                <a16:creationId xmlns:a16="http://schemas.microsoft.com/office/drawing/2014/main" id="{9B48B651-07AE-430D-91CB-695F5F284813}"/>
              </a:ext>
            </a:extLst>
          </p:cNvPr>
          <p:cNvSpPr txBox="1"/>
          <p:nvPr/>
        </p:nvSpPr>
        <p:spPr>
          <a:xfrm>
            <a:off x="5664965" y="3702912"/>
            <a:ext cx="1590951" cy="1384995"/>
          </a:xfrm>
          <a:prstGeom prst="rect">
            <a:avLst/>
          </a:prstGeom>
          <a:noFill/>
        </p:spPr>
        <p:txBody>
          <a:bodyPr wrap="square">
            <a:spAutoFit/>
          </a:bodyPr>
          <a:lstStyle/>
          <a:p>
            <a:pPr algn="ctr"/>
            <a:r>
              <a:rPr lang="en-US" sz="1050">
                <a:solidFill>
                  <a:srgbClr val="3C3C41"/>
                </a:solidFill>
                <a:latin typeface="Segoe UI"/>
              </a:rPr>
              <a:t>Customize or administer the environment, including creating, modifying, and assigning security roles. View all data in the environment (if licensed). </a:t>
            </a:r>
          </a:p>
        </p:txBody>
      </p:sp>
      <p:sp>
        <p:nvSpPr>
          <p:cNvPr id="24" name="TextBox 23">
            <a:extLst>
              <a:ext uri="{FF2B5EF4-FFF2-40B4-BE49-F238E27FC236}">
                <a16:creationId xmlns:a16="http://schemas.microsoft.com/office/drawing/2014/main" id="{66C22E5A-5D5A-42B0-AA5D-43B559CC4C92}"/>
              </a:ext>
            </a:extLst>
          </p:cNvPr>
          <p:cNvSpPr txBox="1"/>
          <p:nvPr/>
        </p:nvSpPr>
        <p:spPr>
          <a:xfrm>
            <a:off x="7478950" y="3702912"/>
            <a:ext cx="1590951" cy="900246"/>
          </a:xfrm>
          <a:prstGeom prst="rect">
            <a:avLst/>
          </a:prstGeom>
          <a:noFill/>
        </p:spPr>
        <p:txBody>
          <a:bodyPr wrap="square">
            <a:spAutoFit/>
          </a:bodyPr>
          <a:lstStyle/>
          <a:p>
            <a:pPr algn="ctr"/>
            <a:r>
              <a:rPr lang="en-US" sz="1050">
                <a:solidFill>
                  <a:srgbClr val="3C3C41"/>
                </a:solidFill>
                <a:latin typeface="Segoe UI"/>
              </a:rPr>
              <a:t>Customize the environment. View records for environment entities that they create. </a:t>
            </a:r>
          </a:p>
        </p:txBody>
      </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Tree>
    <p:extLst>
      <p:ext uri="{BB962C8B-B14F-4D97-AF65-F5344CB8AC3E}">
        <p14:creationId xmlns:p14="http://schemas.microsoft.com/office/powerpoint/2010/main" val="39257698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83924" y="2153504"/>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563343" y="-40949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1"/>
            <a:ext cx="2119105" cy="615553"/>
          </a:xfrm>
        </p:spPr>
        <p:txBody>
          <a:bodyPr/>
          <a:lstStyle/>
          <a:p>
            <a:r>
              <a:rPr lang="en-US">
                <a:solidFill>
                  <a:schemeClr val="bg1"/>
                </a:solidFill>
              </a:rPr>
              <a:t>Customizing Security Roles</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103121"/>
            <a:ext cx="9002876" cy="3050175"/>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721007" y="632829"/>
            <a:ext cx="4860804" cy="1338828"/>
          </a:xfrm>
          <a:prstGeom prst="rect">
            <a:avLst/>
          </a:prstGeom>
          <a:noFill/>
        </p:spPr>
        <p:txBody>
          <a:bodyPr wrap="square">
            <a:spAutoFit/>
          </a:bodyPr>
          <a:lstStyle/>
          <a:p>
            <a:pPr algn="l"/>
            <a:r>
              <a:rPr lang="en-US" sz="1350">
                <a:solidFill>
                  <a:srgbClr val="171717"/>
                </a:solidFill>
                <a:latin typeface="Segoe UI" panose="020B0502040204020203" pitchFamily="34" charset="0"/>
              </a:rPr>
              <a:t>If your app uses a custom entity, its privileges must be explicitly granted in a security role before your app can be used. You can either add these privileges in an existing security role or create a custom security role.</a:t>
            </a:r>
          </a:p>
          <a:p>
            <a:br>
              <a:rPr lang="en-US" sz="1350"/>
            </a:br>
            <a:endParaRPr lang="en-US" sz="1350"/>
          </a:p>
        </p:txBody>
      </p:sp>
      <p:pic>
        <p:nvPicPr>
          <p:cNvPr id="5" name="Picture 4">
            <a:extLst>
              <a:ext uri="{FF2B5EF4-FFF2-40B4-BE49-F238E27FC236}">
                <a16:creationId xmlns:a16="http://schemas.microsoft.com/office/drawing/2014/main" id="{CF797942-8380-4F24-B17E-FFA8D1311A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29005" y="2308338"/>
            <a:ext cx="5062427" cy="2616326"/>
          </a:xfrm>
          <a:prstGeom prst="rect">
            <a:avLst/>
          </a:prstGeom>
        </p:spPr>
      </p:pic>
    </p:spTree>
    <p:extLst>
      <p:ext uri="{BB962C8B-B14F-4D97-AF65-F5344CB8AC3E}">
        <p14:creationId xmlns:p14="http://schemas.microsoft.com/office/powerpoint/2010/main" val="132268289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161798" y="2071661"/>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1231106"/>
          </a:xfrm>
        </p:spPr>
        <p:txBody>
          <a:bodyPr/>
          <a:lstStyle/>
          <a:p>
            <a:r>
              <a:rPr lang="en-US" dirty="0">
                <a:solidFill>
                  <a:schemeClr val="bg1"/>
                </a:solidFill>
              </a:rPr>
              <a:t>Controlling User Access to </a:t>
            </a:r>
            <a:r>
              <a:rPr lang="en-US" dirty="0" err="1">
                <a:solidFill>
                  <a:schemeClr val="bg1"/>
                </a:solidFill>
              </a:rPr>
              <a:t>Dataverse</a:t>
            </a:r>
            <a:r>
              <a:rPr lang="en-US" dirty="0">
                <a:solidFill>
                  <a:schemeClr val="bg1"/>
                </a:solidFill>
              </a:rPr>
              <a:t> environments</a:t>
            </a:r>
            <a:endParaRPr lang="en-IN" dirty="0">
              <a:solidFill>
                <a:schemeClr val="bg1"/>
              </a:solidFill>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590881" y="296793"/>
            <a:ext cx="5362034" cy="1754326"/>
          </a:xfrm>
          <a:prstGeom prst="rect">
            <a:avLst/>
          </a:prstGeom>
          <a:noFill/>
        </p:spPr>
        <p:txBody>
          <a:bodyPr wrap="square">
            <a:spAutoFit/>
          </a:bodyPr>
          <a:lstStyle/>
          <a:p>
            <a:pPr algn="l"/>
            <a:r>
              <a:rPr lang="en-US" sz="1350" dirty="0">
                <a:solidFill>
                  <a:srgbClr val="171717"/>
                </a:solidFill>
                <a:latin typeface="Segoe UI" panose="020B0502040204020203" pitchFamily="34" charset="0"/>
              </a:rPr>
              <a:t>If your company has multiple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environments, you can use security groups to control which licensed users can be a member of an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If you do not specify a security group, all users who have a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license, will be added to the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When a security group is associated with an existing environment with users, all users in the environment that are not members of the group will be disabled.</a:t>
            </a:r>
            <a:endParaRPr lang="en-US" sz="1350" dirty="0"/>
          </a:p>
        </p:txBody>
      </p:sp>
      <p:pic>
        <p:nvPicPr>
          <p:cNvPr id="4" name="Picture 3">
            <a:extLst>
              <a:ext uri="{FF2B5EF4-FFF2-40B4-BE49-F238E27FC236}">
                <a16:creationId xmlns:a16="http://schemas.microsoft.com/office/drawing/2014/main" id="{E945D540-41BE-47F7-AD4C-6F4086FF03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06878" y="2295591"/>
            <a:ext cx="5146319" cy="2545989"/>
          </a:xfrm>
          <a:prstGeom prst="rect">
            <a:avLst/>
          </a:prstGeom>
        </p:spPr>
      </p:pic>
      <p:sp>
        <p:nvSpPr>
          <p:cNvPr id="7" name="Rectangle 6">
            <a:extLst>
              <a:ext uri="{FF2B5EF4-FFF2-40B4-BE49-F238E27FC236}">
                <a16:creationId xmlns:a16="http://schemas.microsoft.com/office/drawing/2014/main" id="{9D8973CE-3609-479F-83A1-EC217304E6E0}"/>
              </a:ext>
            </a:extLst>
          </p:cNvPr>
          <p:cNvSpPr/>
          <p:nvPr/>
        </p:nvSpPr>
        <p:spPr bwMode="auto">
          <a:xfrm>
            <a:off x="6842760" y="4069081"/>
            <a:ext cx="1285240" cy="274320"/>
          </a:xfrm>
          <a:prstGeom prst="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8602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Resource permission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3</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285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321157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Freeform: Shape 212">
            <a:extLst>
              <a:ext uri="{FF2B5EF4-FFF2-40B4-BE49-F238E27FC236}">
                <a16:creationId xmlns:a16="http://schemas.microsoft.com/office/drawing/2014/main" id="{8F40935D-A571-4E33-91BE-DB6C3CE00F6E}"/>
              </a:ext>
            </a:extLst>
          </p:cNvPr>
          <p:cNvSpPr/>
          <p:nvPr/>
        </p:nvSpPr>
        <p:spPr bwMode="auto">
          <a:xfrm>
            <a:off x="1054852" y="1681164"/>
            <a:ext cx="8089148" cy="3461971"/>
          </a:xfrm>
          <a:custGeom>
            <a:avLst/>
            <a:gdLst>
              <a:gd name="connsiteX0" fmla="*/ 2354262 w 11001803"/>
              <a:gd name="connsiteY0" fmla="*/ 0 h 4708521"/>
              <a:gd name="connsiteX1" fmla="*/ 9419666 w 11001803"/>
              <a:gd name="connsiteY1" fmla="*/ 0 h 4708521"/>
              <a:gd name="connsiteX2" fmla="*/ 11001803 w 11001803"/>
              <a:gd name="connsiteY2" fmla="*/ 3164273 h 4708521"/>
              <a:gd name="connsiteX3" fmla="*/ 11001803 w 11001803"/>
              <a:gd name="connsiteY3" fmla="*/ 4708521 h 4708521"/>
              <a:gd name="connsiteX4" fmla="*/ 0 w 11001803"/>
              <a:gd name="connsiteY4" fmla="*/ 4708521 h 470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803" h="4708521">
                <a:moveTo>
                  <a:pt x="2354262" y="0"/>
                </a:moveTo>
                <a:lnTo>
                  <a:pt x="9419666" y="0"/>
                </a:lnTo>
                <a:lnTo>
                  <a:pt x="11001803" y="3164273"/>
                </a:lnTo>
                <a:lnTo>
                  <a:pt x="11001803" y="4708521"/>
                </a:lnTo>
                <a:lnTo>
                  <a:pt x="0" y="4708521"/>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2DD6CB0-61AC-472D-AE14-3212B0060D7B}"/>
              </a:ext>
            </a:extLst>
          </p:cNvPr>
          <p:cNvSpPr>
            <a:spLocks noGrp="1"/>
          </p:cNvSpPr>
          <p:nvPr>
            <p:ph type="title"/>
          </p:nvPr>
        </p:nvSpPr>
        <p:spPr/>
        <p:txBody>
          <a:bodyPr/>
          <a:lstStyle/>
          <a:p>
            <a:r>
              <a:rPr lang="en-IN"/>
              <a:t>Resource level access</a:t>
            </a:r>
          </a:p>
        </p:txBody>
      </p:sp>
      <p:sp>
        <p:nvSpPr>
          <p:cNvPr id="210" name="Freeform: Shape 209">
            <a:extLst>
              <a:ext uri="{FF2B5EF4-FFF2-40B4-BE49-F238E27FC236}">
                <a16:creationId xmlns:a16="http://schemas.microsoft.com/office/drawing/2014/main" id="{3E18865F-51D5-419D-A1D7-2CD3F0EC20FB}"/>
              </a:ext>
            </a:extLst>
          </p:cNvPr>
          <p:cNvSpPr/>
          <p:nvPr/>
        </p:nvSpPr>
        <p:spPr bwMode="auto">
          <a:xfrm>
            <a:off x="796043" y="1597124"/>
            <a:ext cx="8397294" cy="3546011"/>
          </a:xfrm>
          <a:custGeom>
            <a:avLst/>
            <a:gdLst>
              <a:gd name="connsiteX0" fmla="*/ 2411412 w 11420903"/>
              <a:gd name="connsiteY0" fmla="*/ 0 h 4822821"/>
              <a:gd name="connsiteX1" fmla="*/ 9476816 w 11420903"/>
              <a:gd name="connsiteY1" fmla="*/ 0 h 4822821"/>
              <a:gd name="connsiteX2" fmla="*/ 11420903 w 11420903"/>
              <a:gd name="connsiteY2" fmla="*/ 3888174 h 4822821"/>
              <a:gd name="connsiteX3" fmla="*/ 11420903 w 11420903"/>
              <a:gd name="connsiteY3" fmla="*/ 4822821 h 4822821"/>
              <a:gd name="connsiteX4" fmla="*/ 0 w 11420903"/>
              <a:gd name="connsiteY4" fmla="*/ 4822821 h 482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903" h="4822821">
                <a:moveTo>
                  <a:pt x="2411412" y="0"/>
                </a:moveTo>
                <a:lnTo>
                  <a:pt x="9476816" y="0"/>
                </a:lnTo>
                <a:lnTo>
                  <a:pt x="11420903" y="3888174"/>
                </a:lnTo>
                <a:lnTo>
                  <a:pt x="11420903" y="4822821"/>
                </a:lnTo>
                <a:lnTo>
                  <a:pt x="0" y="482282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FD5A1D21-437A-4566-8FE7-F9AE5796583E}"/>
              </a:ext>
            </a:extLst>
          </p:cNvPr>
          <p:cNvSpPr txBox="1">
            <a:spLocks/>
          </p:cNvSpPr>
          <p:nvPr/>
        </p:nvSpPr>
        <p:spPr>
          <a:xfrm>
            <a:off x="341996" y="903005"/>
            <a:ext cx="8005961" cy="1023357"/>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171450" lvl="1">
              <a:spcBef>
                <a:spcPts val="450"/>
              </a:spcBef>
            </a:pPr>
            <a:r>
              <a:rPr lang="en-US" sz="1350" dirty="0"/>
              <a:t>Resources can be shared in the following modes by the makers - </a:t>
            </a:r>
          </a:p>
          <a:p>
            <a:pPr marL="557213" lvl="1" indent="-385763">
              <a:spcBef>
                <a:spcPts val="450"/>
              </a:spcBef>
              <a:buFont typeface="Arial" panose="020B0604020202020204" pitchFamily="34" charset="0"/>
              <a:buChar char="•"/>
            </a:pPr>
            <a:r>
              <a:rPr lang="en-US" sz="1350" dirty="0"/>
              <a:t>Access to co-own components – edit, share, use</a:t>
            </a:r>
          </a:p>
          <a:p>
            <a:pPr marL="557213" lvl="1" indent="-385763">
              <a:spcBef>
                <a:spcPts val="450"/>
              </a:spcBef>
              <a:buFont typeface="Arial" panose="020B0604020202020204" pitchFamily="34" charset="0"/>
              <a:buChar char="•"/>
            </a:pPr>
            <a:r>
              <a:rPr lang="en-US" sz="1350" dirty="0"/>
              <a:t>Flow co-ownership sharing also shares connections in the flow implicitly with owners</a:t>
            </a:r>
          </a:p>
          <a:p>
            <a:pPr marL="557213" lvl="1" indent="-385763">
              <a:spcBef>
                <a:spcPts val="450"/>
              </a:spcBef>
              <a:buFont typeface="Arial" panose="020B0604020202020204" pitchFamily="34" charset="0"/>
              <a:buChar char="•"/>
            </a:pPr>
            <a:r>
              <a:rPr lang="en-US" sz="1350" dirty="0"/>
              <a:t>Access to run components – use only</a:t>
            </a:r>
          </a:p>
        </p:txBody>
      </p:sp>
      <p:sp>
        <p:nvSpPr>
          <p:cNvPr id="204" name="Hexagon 203">
            <a:extLst>
              <a:ext uri="{FF2B5EF4-FFF2-40B4-BE49-F238E27FC236}">
                <a16:creationId xmlns:a16="http://schemas.microsoft.com/office/drawing/2014/main" id="{ECC9810D-2FC3-4258-AC99-2BAAFD18D2F7}"/>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05" name="Hexagon 204">
            <a:extLst>
              <a:ext uri="{FF2B5EF4-FFF2-40B4-BE49-F238E27FC236}">
                <a16:creationId xmlns:a16="http://schemas.microsoft.com/office/drawing/2014/main" id="{E77E1531-8EE1-4EA4-915F-D605DE55F0B1}"/>
              </a:ext>
            </a:extLst>
          </p:cNvPr>
          <p:cNvSpPr/>
          <p:nvPr/>
        </p:nvSpPr>
        <p:spPr bwMode="auto">
          <a:xfrm>
            <a:off x="8620867" y="188828"/>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6" name="Hexagon 205">
            <a:extLst>
              <a:ext uri="{FF2B5EF4-FFF2-40B4-BE49-F238E27FC236}">
                <a16:creationId xmlns:a16="http://schemas.microsoft.com/office/drawing/2014/main" id="{A30FD94E-B5BF-4463-B05B-9486DEE21853}"/>
              </a:ext>
            </a:extLst>
          </p:cNvPr>
          <p:cNvSpPr/>
          <p:nvPr/>
        </p:nvSpPr>
        <p:spPr bwMode="auto">
          <a:xfrm>
            <a:off x="-781923" y="436495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7" name="Hexagon 206">
            <a:extLst>
              <a:ext uri="{FF2B5EF4-FFF2-40B4-BE49-F238E27FC236}">
                <a16:creationId xmlns:a16="http://schemas.microsoft.com/office/drawing/2014/main" id="{6BECA4FB-8983-49DF-9AAE-6CF9CDDB8DD1}"/>
              </a:ext>
            </a:extLst>
          </p:cNvPr>
          <p:cNvSpPr/>
          <p:nvPr/>
        </p:nvSpPr>
        <p:spPr bwMode="auto">
          <a:xfrm>
            <a:off x="1" y="4131870"/>
            <a:ext cx="529223" cy="46617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97" name="Text Placeholder 2">
            <a:extLst>
              <a:ext uri="{FF2B5EF4-FFF2-40B4-BE49-F238E27FC236}">
                <a16:creationId xmlns:a16="http://schemas.microsoft.com/office/drawing/2014/main" id="{81BBB1CC-BD72-463C-9725-56CB60AEEE23}"/>
              </a:ext>
            </a:extLst>
          </p:cNvPr>
          <p:cNvSpPr txBox="1">
            <a:spLocks/>
          </p:cNvSpPr>
          <p:nvPr/>
        </p:nvSpPr>
        <p:spPr>
          <a:xfrm>
            <a:off x="474127"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utomate	</a:t>
            </a:r>
          </a:p>
        </p:txBody>
      </p:sp>
      <p:pic>
        <p:nvPicPr>
          <p:cNvPr id="203" name="Picture 202">
            <a:extLst>
              <a:ext uri="{FF2B5EF4-FFF2-40B4-BE49-F238E27FC236}">
                <a16:creationId xmlns:a16="http://schemas.microsoft.com/office/drawing/2014/main" id="{B54064A5-CE4C-48D7-97E6-39BF8100A06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9223" y="2515326"/>
            <a:ext cx="2606040" cy="1355141"/>
          </a:xfrm>
          <a:prstGeom prst="rect">
            <a:avLst/>
          </a:prstGeom>
          <a:noFill/>
        </p:spPr>
      </p:pic>
      <p:sp>
        <p:nvSpPr>
          <p:cNvPr id="208" name="Text Placeholder 4">
            <a:extLst>
              <a:ext uri="{FF2B5EF4-FFF2-40B4-BE49-F238E27FC236}">
                <a16:creationId xmlns:a16="http://schemas.microsoft.com/office/drawing/2014/main" id="{8E2AFBE7-4E8E-4B54-ACD6-F96C8B511D95}"/>
              </a:ext>
            </a:extLst>
          </p:cNvPr>
          <p:cNvSpPr txBox="1">
            <a:spLocks/>
          </p:cNvSpPr>
          <p:nvPr/>
        </p:nvSpPr>
        <p:spPr>
          <a:xfrm>
            <a:off x="3268980"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pps</a:t>
            </a:r>
          </a:p>
        </p:txBody>
      </p:sp>
      <p:pic>
        <p:nvPicPr>
          <p:cNvPr id="209" name="Picture 208">
            <a:extLst>
              <a:ext uri="{FF2B5EF4-FFF2-40B4-BE49-F238E27FC236}">
                <a16:creationId xmlns:a16="http://schemas.microsoft.com/office/drawing/2014/main" id="{692CE12A-A036-42CE-B0EF-FB4456CCB3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61244" y="2541386"/>
            <a:ext cx="2606040" cy="1303020"/>
          </a:xfrm>
          <a:prstGeom prst="rect">
            <a:avLst/>
          </a:prstGeom>
          <a:noFill/>
        </p:spPr>
      </p:pic>
      <p:sp>
        <p:nvSpPr>
          <p:cNvPr id="211" name="Text Placeholder 6">
            <a:extLst>
              <a:ext uri="{FF2B5EF4-FFF2-40B4-BE49-F238E27FC236}">
                <a16:creationId xmlns:a16="http://schemas.microsoft.com/office/drawing/2014/main" id="{A435CAEE-0F5C-4EFA-BE54-7CA15D26A5D7}"/>
              </a:ext>
            </a:extLst>
          </p:cNvPr>
          <p:cNvSpPr txBox="1">
            <a:spLocks/>
          </p:cNvSpPr>
          <p:nvPr/>
        </p:nvSpPr>
        <p:spPr>
          <a:xfrm>
            <a:off x="6100764"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Virtual Agent</a:t>
            </a:r>
          </a:p>
        </p:txBody>
      </p:sp>
      <p:pic>
        <p:nvPicPr>
          <p:cNvPr id="212" name="Picture 211">
            <a:extLst>
              <a:ext uri="{FF2B5EF4-FFF2-40B4-BE49-F238E27FC236}">
                <a16:creationId xmlns:a16="http://schemas.microsoft.com/office/drawing/2014/main" id="{44196EF8-ED86-4243-934D-C91E5DAD7E3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91312" y="2583735"/>
            <a:ext cx="2606040" cy="1218323"/>
          </a:xfrm>
          <a:prstGeom prst="rect">
            <a:avLst/>
          </a:prstGeom>
          <a:noFill/>
        </p:spPr>
      </p:pic>
    </p:spTree>
    <p:extLst>
      <p:ext uri="{BB962C8B-B14F-4D97-AF65-F5344CB8AC3E}">
        <p14:creationId xmlns:p14="http://schemas.microsoft.com/office/powerpoint/2010/main" val="351597786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Sharing Component and Granting Data Access</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
        <p:nvSpPr>
          <p:cNvPr id="89" name="Freeform: Shape 88">
            <a:extLst>
              <a:ext uri="{FF2B5EF4-FFF2-40B4-BE49-F238E27FC236}">
                <a16:creationId xmlns:a16="http://schemas.microsoft.com/office/drawing/2014/main" id="{68E189C5-5387-45E2-A005-DC451913C5C1}"/>
              </a:ext>
            </a:extLst>
          </p:cNvPr>
          <p:cNvSpPr/>
          <p:nvPr/>
        </p:nvSpPr>
        <p:spPr>
          <a:xfrm flipH="1">
            <a:off x="607272" y="1118875"/>
            <a:ext cx="7884083" cy="4024625"/>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7" name="Picture 6">
            <a:extLst>
              <a:ext uri="{FF2B5EF4-FFF2-40B4-BE49-F238E27FC236}">
                <a16:creationId xmlns:a16="http://schemas.microsoft.com/office/drawing/2014/main" id="{F57D6489-8186-4571-AB94-6B39A3DA11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8416" y="1314923"/>
            <a:ext cx="7094571" cy="3578809"/>
          </a:xfrm>
          <a:prstGeom prst="rect">
            <a:avLst/>
          </a:prstGeom>
        </p:spPr>
      </p:pic>
    </p:spTree>
    <p:extLst>
      <p:ext uri="{BB962C8B-B14F-4D97-AF65-F5344CB8AC3E}">
        <p14:creationId xmlns:p14="http://schemas.microsoft.com/office/powerpoint/2010/main" val="7757317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0BDC1-8536-4350-923F-33B98B86B0AA}"/>
              </a:ext>
            </a:extLst>
          </p:cNvPr>
          <p:cNvSpPr>
            <a:spLocks noGrp="1"/>
          </p:cNvSpPr>
          <p:nvPr>
            <p:ph type="title"/>
          </p:nvPr>
        </p:nvSpPr>
        <p:spPr>
          <a:xfrm>
            <a:off x="341997" y="465322"/>
            <a:ext cx="8479852" cy="362087"/>
          </a:xfrm>
        </p:spPr>
        <p:txBody>
          <a:bodyPr/>
          <a:lstStyle/>
          <a:p>
            <a:pPr defTabSz="685775">
              <a:lnSpc>
                <a:spcPct val="100000"/>
              </a:lnSpc>
            </a:pPr>
            <a:r>
              <a:rPr lang="de-DE" sz="2353" spc="-110" dirty="0"/>
              <a:t>Typical admin concerns</a:t>
            </a:r>
            <a:endParaRPr lang="en-US" sz="2353" spc="-110" dirty="0"/>
          </a:p>
        </p:txBody>
      </p:sp>
      <p:sp>
        <p:nvSpPr>
          <p:cNvPr id="3" name="Footer Placeholder 2">
            <a:extLst>
              <a:ext uri="{FF2B5EF4-FFF2-40B4-BE49-F238E27FC236}">
                <a16:creationId xmlns:a16="http://schemas.microsoft.com/office/drawing/2014/main" id="{C66C2286-91E2-474D-B7EA-29F96D2B1743}"/>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sp>
        <p:nvSpPr>
          <p:cNvPr id="22" name="Text Placeholder 2">
            <a:extLst>
              <a:ext uri="{FF2B5EF4-FFF2-40B4-BE49-F238E27FC236}">
                <a16:creationId xmlns:a16="http://schemas.microsoft.com/office/drawing/2014/main" id="{8C9FE26C-8F54-4D95-AA14-1420E04B83EF}"/>
              </a:ext>
            </a:extLst>
          </p:cNvPr>
          <p:cNvSpPr txBox="1">
            <a:spLocks/>
          </p:cNvSpPr>
          <p:nvPr/>
        </p:nvSpPr>
        <p:spPr>
          <a:xfrm>
            <a:off x="518777" y="823102"/>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defRPr/>
            </a:pPr>
            <a:r>
              <a:rPr lang="en-US" sz="1471" dirty="0">
                <a:solidFill>
                  <a:schemeClr val="tx1"/>
                </a:solidFill>
                <a:latin typeface="Segoe UI Light" panose="020B0502040204020203" pitchFamily="34" charset="0"/>
                <a:cs typeface="Segoe UI Light" panose="020B0502040204020203" pitchFamily="34" charset="0"/>
              </a:rPr>
              <a:t>Do any of these resonate with you? </a:t>
            </a:r>
          </a:p>
        </p:txBody>
      </p:sp>
      <p:sp>
        <p:nvSpPr>
          <p:cNvPr id="36" name="Rectangle 9">
            <a:extLst>
              <a:ext uri="{FF2B5EF4-FFF2-40B4-BE49-F238E27FC236}">
                <a16:creationId xmlns:a16="http://schemas.microsoft.com/office/drawing/2014/main" id="{BE7D577C-6D1C-4CBC-9DDC-C8105220E10A}"/>
              </a:ext>
            </a:extLst>
          </p:cNvPr>
          <p:cNvSpPr/>
          <p:nvPr/>
        </p:nvSpPr>
        <p:spPr>
          <a:xfrm>
            <a:off x="550869" y="2306374"/>
            <a:ext cx="2005005"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Business data security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oncerns regarding connectors</a:t>
            </a:r>
          </a:p>
        </p:txBody>
      </p:sp>
      <p:sp>
        <p:nvSpPr>
          <p:cNvPr id="35" name="Rectangle 9">
            <a:extLst>
              <a:ext uri="{FF2B5EF4-FFF2-40B4-BE49-F238E27FC236}">
                <a16:creationId xmlns:a16="http://schemas.microsoft.com/office/drawing/2014/main" id="{B697EDBE-7468-4104-B112-D40A9C669600}"/>
              </a:ext>
            </a:extLst>
          </p:cNvPr>
          <p:cNvSpPr/>
          <p:nvPr/>
        </p:nvSpPr>
        <p:spPr>
          <a:xfrm>
            <a:off x="2806405" y="2306374"/>
            <a:ext cx="1655707"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Environment health regarding trial setup</a:t>
            </a:r>
          </a:p>
        </p:txBody>
      </p:sp>
      <p:sp>
        <p:nvSpPr>
          <p:cNvPr id="31" name="Rectangle 9">
            <a:extLst>
              <a:ext uri="{FF2B5EF4-FFF2-40B4-BE49-F238E27FC236}">
                <a16:creationId xmlns:a16="http://schemas.microsoft.com/office/drawing/2014/main" id="{E622F1D2-2F36-4963-8429-FFCC15BD8D64}"/>
              </a:ext>
            </a:extLst>
          </p:cNvPr>
          <p:cNvSpPr/>
          <p:nvPr/>
        </p:nvSpPr>
        <p:spPr>
          <a:xfrm>
            <a:off x="4558215" y="2306373"/>
            <a:ext cx="2153986"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Maintenance challenges regarding app and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distribution</a:t>
            </a:r>
          </a:p>
        </p:txBody>
      </p:sp>
      <p:sp>
        <p:nvSpPr>
          <p:cNvPr id="30" name="Rectangle 9">
            <a:extLst>
              <a:ext uri="{FF2B5EF4-FFF2-40B4-BE49-F238E27FC236}">
                <a16:creationId xmlns:a16="http://schemas.microsoft.com/office/drawing/2014/main" id="{E1B63DF6-36FC-4DA4-A43A-009D5495417B}"/>
              </a:ext>
            </a:extLst>
          </p:cNvPr>
          <p:cNvSpPr/>
          <p:nvPr/>
        </p:nvSpPr>
        <p:spPr>
          <a:xfrm>
            <a:off x="6869561" y="2306374"/>
            <a:ext cx="1659470"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ecurity risks regarding “shadow IT”</a:t>
            </a:r>
          </a:p>
        </p:txBody>
      </p:sp>
      <p:sp>
        <p:nvSpPr>
          <p:cNvPr id="29" name="Rectangle 9">
            <a:extLst>
              <a:ext uri="{FF2B5EF4-FFF2-40B4-BE49-F238E27FC236}">
                <a16:creationId xmlns:a16="http://schemas.microsoft.com/office/drawing/2014/main" id="{0C05E065-D32F-43F3-AF6C-B34390565A00}"/>
              </a:ext>
            </a:extLst>
          </p:cNvPr>
          <p:cNvSpPr/>
          <p:nvPr/>
        </p:nvSpPr>
        <p:spPr>
          <a:xfrm>
            <a:off x="562781" y="3841664"/>
            <a:ext cx="1981183"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Compliancy issues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GDPR</a:t>
            </a:r>
          </a:p>
        </p:txBody>
      </p:sp>
      <p:sp>
        <p:nvSpPr>
          <p:cNvPr id="25" name="Rectangle 9">
            <a:extLst>
              <a:ext uri="{FF2B5EF4-FFF2-40B4-BE49-F238E27FC236}">
                <a16:creationId xmlns:a16="http://schemas.microsoft.com/office/drawing/2014/main" id="{6ABCBB6C-FBFB-4684-AF8F-E5D58E8D8D8B}"/>
              </a:ext>
            </a:extLst>
          </p:cNvPr>
          <p:cNvSpPr/>
          <p:nvPr/>
        </p:nvSpPr>
        <p:spPr>
          <a:xfrm>
            <a:off x="2643667" y="3841663"/>
            <a:ext cx="1981183"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ALM support regarding</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 apps being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reated/deployed</a:t>
            </a:r>
          </a:p>
        </p:txBody>
      </p:sp>
      <p:sp>
        <p:nvSpPr>
          <p:cNvPr id="24" name="Rectangle 9">
            <a:extLst>
              <a:ext uri="{FF2B5EF4-FFF2-40B4-BE49-F238E27FC236}">
                <a16:creationId xmlns:a16="http://schemas.microsoft.com/office/drawing/2014/main" id="{7F94C19A-77C0-4DCF-8EFC-B3F8012A5E41}"/>
              </a:ext>
            </a:extLst>
          </p:cNvPr>
          <p:cNvSpPr/>
          <p:nvPr/>
        </p:nvSpPr>
        <p:spPr>
          <a:xfrm>
            <a:off x="4624449" y="3841663"/>
            <a:ext cx="2021517"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taff turnover challenges</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app or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ownership</a:t>
            </a:r>
          </a:p>
        </p:txBody>
      </p:sp>
      <p:sp>
        <p:nvSpPr>
          <p:cNvPr id="23" name="Rectangle 9">
            <a:extLst>
              <a:ext uri="{FF2B5EF4-FFF2-40B4-BE49-F238E27FC236}">
                <a16:creationId xmlns:a16="http://schemas.microsoft.com/office/drawing/2014/main" id="{9945DA00-234F-407D-8D0B-D6CBD708876C}"/>
              </a:ext>
            </a:extLst>
          </p:cNvPr>
          <p:cNvSpPr/>
          <p:nvPr/>
        </p:nvSpPr>
        <p:spPr>
          <a:xfrm>
            <a:off x="6771844" y="3841664"/>
            <a:ext cx="1854905"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Information risk management</a:t>
            </a:r>
          </a:p>
        </p:txBody>
      </p:sp>
      <p:sp>
        <p:nvSpPr>
          <p:cNvPr id="37" name="Oval 37">
            <a:extLst>
              <a:ext uri="{FF2B5EF4-FFF2-40B4-BE49-F238E27FC236}">
                <a16:creationId xmlns:a16="http://schemas.microsoft.com/office/drawing/2014/main" id="{752035BA-B646-461B-A7F8-97D80A77B4C5}"/>
              </a:ext>
              <a:ext uri="{C183D7F6-B498-43B3-948B-1728B52AA6E4}">
                <adec:decorative xmlns:adec="http://schemas.microsoft.com/office/drawing/2017/decorative" val="1"/>
              </a:ext>
            </a:extLst>
          </p:cNvPr>
          <p:cNvSpPr/>
          <p:nvPr/>
        </p:nvSpPr>
        <p:spPr bwMode="auto">
          <a:xfrm>
            <a:off x="333250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9">
            <a:extLst>
              <a:ext uri="{FF2B5EF4-FFF2-40B4-BE49-F238E27FC236}">
                <a16:creationId xmlns:a16="http://schemas.microsoft.com/office/drawing/2014/main" id="{BD38A9F2-3497-48D7-89D2-2E6A8EA791DF}"/>
              </a:ext>
              <a:ext uri="{C183D7F6-B498-43B3-948B-1728B52AA6E4}">
                <adec:decorative xmlns:adec="http://schemas.microsoft.com/office/drawing/2017/decorative" val="1"/>
              </a:ext>
            </a:extLst>
          </p:cNvPr>
          <p:cNvSpPr/>
          <p:nvPr/>
        </p:nvSpPr>
        <p:spPr bwMode="auto">
          <a:xfrm>
            <a:off x="533345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10">
            <a:extLst>
              <a:ext uri="{FF2B5EF4-FFF2-40B4-BE49-F238E27FC236}">
                <a16:creationId xmlns:a16="http://schemas.microsoft.com/office/drawing/2014/main" id="{53104885-6DBB-4114-B8E2-50351489CD75}"/>
              </a:ext>
              <a:ext uri="{C183D7F6-B498-43B3-948B-1728B52AA6E4}">
                <adec:decorative xmlns:adec="http://schemas.microsoft.com/office/drawing/2017/decorative" val="1"/>
              </a:ext>
            </a:extLst>
          </p:cNvPr>
          <p:cNvGrpSpPr/>
          <p:nvPr/>
        </p:nvGrpSpPr>
        <p:grpSpPr>
          <a:xfrm>
            <a:off x="1253074" y="1629199"/>
            <a:ext cx="600596" cy="600596"/>
            <a:chOff x="2342455" y="2164039"/>
            <a:chExt cx="689056" cy="689056"/>
          </a:xfrm>
        </p:grpSpPr>
        <p:sp>
          <p:nvSpPr>
            <p:cNvPr id="40" name="Oval 36">
              <a:extLst>
                <a:ext uri="{FF2B5EF4-FFF2-40B4-BE49-F238E27FC236}">
                  <a16:creationId xmlns:a16="http://schemas.microsoft.com/office/drawing/2014/main" id="{B0F67504-025E-416A-B221-AF06E4A0DA82}"/>
                </a:ext>
              </a:extLst>
            </p:cNvPr>
            <p:cNvSpPr/>
            <p:nvPr/>
          </p:nvSpPr>
          <p:spPr bwMode="auto">
            <a:xfrm>
              <a:off x="2342455" y="2164039"/>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aphic 3">
              <a:extLst>
                <a:ext uri="{FF2B5EF4-FFF2-40B4-BE49-F238E27FC236}">
                  <a16:creationId xmlns:a16="http://schemas.microsoft.com/office/drawing/2014/main" id="{EA15DC8F-5CBC-4002-8B36-3D6A10B8FB31}"/>
                </a:ext>
              </a:extLst>
            </p:cNvPr>
            <p:cNvGrpSpPr/>
            <p:nvPr/>
          </p:nvGrpSpPr>
          <p:grpSpPr>
            <a:xfrm>
              <a:off x="2465527" y="2291873"/>
              <a:ext cx="440055" cy="422910"/>
              <a:chOff x="2052103" y="2244716"/>
              <a:chExt cx="440055" cy="422910"/>
            </a:xfrm>
          </p:grpSpPr>
          <p:sp>
            <p:nvSpPr>
              <p:cNvPr id="42" name="Freeform: Shape 5">
                <a:extLst>
                  <a:ext uri="{FF2B5EF4-FFF2-40B4-BE49-F238E27FC236}">
                    <a16:creationId xmlns:a16="http://schemas.microsoft.com/office/drawing/2014/main" id="{24D30ACB-E6FC-4FD6-8C13-8A5B70D09FBA}"/>
                  </a:ext>
                </a:extLst>
              </p:cNvPr>
              <p:cNvSpPr/>
              <p:nvPr/>
            </p:nvSpPr>
            <p:spPr>
              <a:xfrm>
                <a:off x="2203551" y="2427596"/>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3" name="Freeform: Shape 6">
                <a:extLst>
                  <a:ext uri="{FF2B5EF4-FFF2-40B4-BE49-F238E27FC236}">
                    <a16:creationId xmlns:a16="http://schemas.microsoft.com/office/drawing/2014/main" id="{CBCD7082-2825-43BF-9B29-DB6E675F9DA6}"/>
                  </a:ext>
                </a:extLst>
              </p:cNvPr>
              <p:cNvSpPr/>
              <p:nvPr/>
            </p:nvSpPr>
            <p:spPr>
              <a:xfrm>
                <a:off x="2246413" y="2474269"/>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4" name="Freeform: Shape 8">
                <a:extLst>
                  <a:ext uri="{FF2B5EF4-FFF2-40B4-BE49-F238E27FC236}">
                    <a16:creationId xmlns:a16="http://schemas.microsoft.com/office/drawing/2014/main" id="{93B1BF61-4FDC-4576-B86E-0C5BF72CCDFF}"/>
                  </a:ext>
                </a:extLst>
              </p:cNvPr>
              <p:cNvSpPr/>
              <p:nvPr/>
            </p:nvSpPr>
            <p:spPr>
              <a:xfrm>
                <a:off x="2052103" y="2419976"/>
                <a:ext cx="257175" cy="247650"/>
              </a:xfrm>
              <a:custGeom>
                <a:avLst/>
                <a:gdLst>
                  <a:gd name="connsiteX0" fmla="*/ 252889 w 257175"/>
                  <a:gd name="connsiteY0" fmla="*/ 61436 h 247650"/>
                  <a:gd name="connsiteX1" fmla="*/ 245269 w 257175"/>
                  <a:gd name="connsiteY1" fmla="*/ 53816 h 247650"/>
                  <a:gd name="connsiteX2" fmla="*/ 201454 w 257175"/>
                  <a:gd name="connsiteY2" fmla="*/ 96679 h 247650"/>
                  <a:gd name="connsiteX3" fmla="*/ 165259 w 257175"/>
                  <a:gd name="connsiteY3" fmla="*/ 57626 h 247650"/>
                  <a:gd name="connsiteX4" fmla="*/ 210026 w 257175"/>
                  <a:gd name="connsiteY4" fmla="*/ 14764 h 247650"/>
                  <a:gd name="connsiteX5" fmla="*/ 202406 w 257175"/>
                  <a:gd name="connsiteY5" fmla="*/ 7144 h 247650"/>
                  <a:gd name="connsiteX6" fmla="*/ 158591 w 257175"/>
                  <a:gd name="connsiteY6" fmla="*/ 50006 h 247650"/>
                  <a:gd name="connsiteX7" fmla="*/ 133826 w 257175"/>
                  <a:gd name="connsiteY7" fmla="*/ 23336 h 247650"/>
                  <a:gd name="connsiteX8" fmla="*/ 93821 w 257175"/>
                  <a:gd name="connsiteY8" fmla="*/ 62389 h 247650"/>
                  <a:gd name="connsiteX9" fmla="*/ 88106 w 257175"/>
                  <a:gd name="connsiteY9" fmla="*/ 164306 h 247650"/>
                  <a:gd name="connsiteX10" fmla="*/ 7144 w 257175"/>
                  <a:gd name="connsiteY10" fmla="*/ 241459 h 247650"/>
                  <a:gd name="connsiteX11" fmla="*/ 14764 w 257175"/>
                  <a:gd name="connsiteY11" fmla="*/ 249079 h 247650"/>
                  <a:gd name="connsiteX12" fmla="*/ 94774 w 257175"/>
                  <a:gd name="connsiteY12" fmla="*/ 171926 h 247650"/>
                  <a:gd name="connsiteX13" fmla="*/ 141446 w 257175"/>
                  <a:gd name="connsiteY13" fmla="*/ 190976 h 247650"/>
                  <a:gd name="connsiteX14" fmla="*/ 194786 w 257175"/>
                  <a:gd name="connsiteY14" fmla="*/ 170974 h 247650"/>
                  <a:gd name="connsiteX15" fmla="*/ 233839 w 257175"/>
                  <a:gd name="connsiteY15" fmla="*/ 131921 h 247650"/>
                  <a:gd name="connsiteX16" fmla="*/ 209074 w 257175"/>
                  <a:gd name="connsiteY16" fmla="*/ 105251 h 247650"/>
                  <a:gd name="connsiteX17" fmla="*/ 252889 w 257175"/>
                  <a:gd name="connsiteY17" fmla="*/ 6143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 h="247650">
                    <a:moveTo>
                      <a:pt x="252889" y="61436"/>
                    </a:moveTo>
                    <a:lnTo>
                      <a:pt x="245269" y="53816"/>
                    </a:lnTo>
                    <a:lnTo>
                      <a:pt x="201454" y="96679"/>
                    </a:lnTo>
                    <a:lnTo>
                      <a:pt x="165259" y="57626"/>
                    </a:lnTo>
                    <a:lnTo>
                      <a:pt x="210026" y="14764"/>
                    </a:lnTo>
                    <a:lnTo>
                      <a:pt x="202406" y="7144"/>
                    </a:lnTo>
                    <a:lnTo>
                      <a:pt x="158591" y="50006"/>
                    </a:lnTo>
                    <a:lnTo>
                      <a:pt x="133826" y="23336"/>
                    </a:lnTo>
                    <a:lnTo>
                      <a:pt x="93821" y="62389"/>
                    </a:lnTo>
                    <a:cubicBezTo>
                      <a:pt x="66199" y="88106"/>
                      <a:pt x="63341" y="132874"/>
                      <a:pt x="88106" y="164306"/>
                    </a:cubicBezTo>
                    <a:lnTo>
                      <a:pt x="7144" y="241459"/>
                    </a:lnTo>
                    <a:lnTo>
                      <a:pt x="14764" y="249079"/>
                    </a:lnTo>
                    <a:lnTo>
                      <a:pt x="94774" y="171926"/>
                    </a:lnTo>
                    <a:cubicBezTo>
                      <a:pt x="107156" y="183356"/>
                      <a:pt x="123349" y="190024"/>
                      <a:pt x="141446" y="190976"/>
                    </a:cubicBezTo>
                    <a:cubicBezTo>
                      <a:pt x="161449" y="191929"/>
                      <a:pt x="180499" y="184309"/>
                      <a:pt x="194786" y="170974"/>
                    </a:cubicBezTo>
                    <a:lnTo>
                      <a:pt x="233839" y="131921"/>
                    </a:lnTo>
                    <a:lnTo>
                      <a:pt x="209074" y="105251"/>
                    </a:lnTo>
                    <a:lnTo>
                      <a:pt x="252889" y="61436"/>
                    </a:lnTo>
                    <a:close/>
                  </a:path>
                </a:pathLst>
              </a:custGeom>
              <a:solidFill>
                <a:srgbClr val="742772"/>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5" name="Freeform: Shape 9">
                <a:extLst>
                  <a:ext uri="{FF2B5EF4-FFF2-40B4-BE49-F238E27FC236}">
                    <a16:creationId xmlns:a16="http://schemas.microsoft.com/office/drawing/2014/main" id="{1F36B74B-16EC-49E9-B949-37593A56EB96}"/>
                  </a:ext>
                </a:extLst>
              </p:cNvPr>
              <p:cNvSpPr/>
              <p:nvPr/>
            </p:nvSpPr>
            <p:spPr>
              <a:xfrm>
                <a:off x="2254033" y="2244716"/>
                <a:ext cx="238125" cy="238125"/>
              </a:xfrm>
              <a:custGeom>
                <a:avLst/>
                <a:gdLst>
                  <a:gd name="connsiteX0" fmla="*/ 233839 w 238125"/>
                  <a:gd name="connsiteY0" fmla="*/ 14764 h 238125"/>
                  <a:gd name="connsiteX1" fmla="*/ 226219 w 238125"/>
                  <a:gd name="connsiteY1" fmla="*/ 7144 h 238125"/>
                  <a:gd name="connsiteX2" fmla="*/ 146209 w 238125"/>
                  <a:gd name="connsiteY2" fmla="*/ 84296 h 238125"/>
                  <a:gd name="connsiteX3" fmla="*/ 99536 w 238125"/>
                  <a:gd name="connsiteY3" fmla="*/ 65246 h 238125"/>
                  <a:gd name="connsiteX4" fmla="*/ 46196 w 238125"/>
                  <a:gd name="connsiteY4" fmla="*/ 85249 h 238125"/>
                  <a:gd name="connsiteX5" fmla="*/ 7144 w 238125"/>
                  <a:gd name="connsiteY5" fmla="*/ 124301 h 238125"/>
                  <a:gd name="connsiteX6" fmla="*/ 107156 w 238125"/>
                  <a:gd name="connsiteY6" fmla="*/ 232886 h 238125"/>
                  <a:gd name="connsiteX7" fmla="*/ 147161 w 238125"/>
                  <a:gd name="connsiteY7" fmla="*/ 193834 h 238125"/>
                  <a:gd name="connsiteX8" fmla="*/ 152876 w 238125"/>
                  <a:gd name="connsiteY8" fmla="*/ 91916 h 238125"/>
                  <a:gd name="connsiteX9" fmla="*/ 233839 w 238125"/>
                  <a:gd name="connsiteY9" fmla="*/ 1476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233839" y="14764"/>
                    </a:moveTo>
                    <a:lnTo>
                      <a:pt x="226219" y="7144"/>
                    </a:lnTo>
                    <a:lnTo>
                      <a:pt x="146209" y="84296"/>
                    </a:lnTo>
                    <a:cubicBezTo>
                      <a:pt x="133826" y="72866"/>
                      <a:pt x="117634" y="66199"/>
                      <a:pt x="99536" y="65246"/>
                    </a:cubicBezTo>
                    <a:cubicBezTo>
                      <a:pt x="79534" y="64294"/>
                      <a:pt x="61436" y="71914"/>
                      <a:pt x="46196" y="85249"/>
                    </a:cubicBezTo>
                    <a:lnTo>
                      <a:pt x="7144" y="124301"/>
                    </a:lnTo>
                    <a:lnTo>
                      <a:pt x="107156" y="232886"/>
                    </a:lnTo>
                    <a:lnTo>
                      <a:pt x="147161" y="193834"/>
                    </a:lnTo>
                    <a:cubicBezTo>
                      <a:pt x="174784" y="168116"/>
                      <a:pt x="177641" y="123349"/>
                      <a:pt x="152876" y="91916"/>
                    </a:cubicBezTo>
                    <a:lnTo>
                      <a:pt x="233839" y="14764"/>
                    </a:lnTo>
                    <a:close/>
                  </a:path>
                </a:pathLst>
              </a:custGeom>
              <a:solidFill>
                <a:srgbClr val="C1C1C1"/>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grpSp>
      </p:grpSp>
      <p:sp>
        <p:nvSpPr>
          <p:cNvPr id="46" name="Oval 40">
            <a:extLst>
              <a:ext uri="{FF2B5EF4-FFF2-40B4-BE49-F238E27FC236}">
                <a16:creationId xmlns:a16="http://schemas.microsoft.com/office/drawing/2014/main" id="{F843E072-B50C-46DB-ABF2-0212D23429FA}"/>
              </a:ext>
              <a:ext uri="{C183D7F6-B498-43B3-948B-1728B52AA6E4}">
                <adec:decorative xmlns:adec="http://schemas.microsoft.com/office/drawing/2017/decorative" val="1"/>
              </a:ext>
            </a:extLst>
          </p:cNvPr>
          <p:cNvSpPr/>
          <p:nvPr/>
        </p:nvSpPr>
        <p:spPr bwMode="auto">
          <a:xfrm>
            <a:off x="7397543"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2">
            <a:extLst>
              <a:ext uri="{FF2B5EF4-FFF2-40B4-BE49-F238E27FC236}">
                <a16:creationId xmlns:a16="http://schemas.microsoft.com/office/drawing/2014/main" id="{22F55102-9479-4FC9-997C-46B1BA42E4F5}"/>
              </a:ext>
              <a:ext uri="{C183D7F6-B498-43B3-948B-1728B52AA6E4}">
                <adec:decorative xmlns:adec="http://schemas.microsoft.com/office/drawing/2017/decorative" val="1"/>
              </a:ext>
            </a:extLst>
          </p:cNvPr>
          <p:cNvSpPr/>
          <p:nvPr/>
        </p:nvSpPr>
        <p:spPr bwMode="auto">
          <a:xfrm>
            <a:off x="1251620"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53">
            <a:extLst>
              <a:ext uri="{FF2B5EF4-FFF2-40B4-BE49-F238E27FC236}">
                <a16:creationId xmlns:a16="http://schemas.microsoft.com/office/drawing/2014/main" id="{D242B28C-FEE7-4E54-B85D-27A7D41C7F77}"/>
              </a:ext>
              <a:ext uri="{C183D7F6-B498-43B3-948B-1728B52AA6E4}">
                <adec:decorative xmlns:adec="http://schemas.microsoft.com/office/drawing/2017/decorative" val="1"/>
              </a:ext>
            </a:extLst>
          </p:cNvPr>
          <p:cNvSpPr/>
          <p:nvPr/>
        </p:nvSpPr>
        <p:spPr bwMode="auto">
          <a:xfrm>
            <a:off x="3332506"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arrow_26">
            <a:extLst>
              <a:ext uri="{FF2B5EF4-FFF2-40B4-BE49-F238E27FC236}">
                <a16:creationId xmlns:a16="http://schemas.microsoft.com/office/drawing/2014/main" id="{BDDA928D-ADD1-43F6-8CF7-ADE7C21CC1A1}"/>
              </a:ext>
              <a:ext uri="{C183D7F6-B498-43B3-948B-1728B52AA6E4}">
                <adec:decorative xmlns:adec="http://schemas.microsoft.com/office/drawing/2017/decorative" val="1"/>
              </a:ext>
            </a:extLst>
          </p:cNvPr>
          <p:cNvSpPr>
            <a:spLocks noChangeAspect="1" noEditPoints="1"/>
          </p:cNvSpPr>
          <p:nvPr/>
        </p:nvSpPr>
        <p:spPr bwMode="auto">
          <a:xfrm>
            <a:off x="3450586" y="3278279"/>
            <a:ext cx="367346" cy="35594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28575" cap="flat">
            <a:solidFill>
              <a:srgbClr val="74277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pic>
        <p:nvPicPr>
          <p:cNvPr id="50" name="Picture 51">
            <a:extLst>
              <a:ext uri="{FF2B5EF4-FFF2-40B4-BE49-F238E27FC236}">
                <a16:creationId xmlns:a16="http://schemas.microsoft.com/office/drawing/2014/main" id="{A9959871-035E-47E2-AE26-961CDAB8458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40289" y="3362281"/>
            <a:ext cx="187938" cy="187938"/>
          </a:xfrm>
          <a:prstGeom prst="rect">
            <a:avLst/>
          </a:prstGeom>
        </p:spPr>
      </p:pic>
      <p:grpSp>
        <p:nvGrpSpPr>
          <p:cNvPr id="51" name="Group 18">
            <a:extLst>
              <a:ext uri="{FF2B5EF4-FFF2-40B4-BE49-F238E27FC236}">
                <a16:creationId xmlns:a16="http://schemas.microsoft.com/office/drawing/2014/main" id="{6CF0B8C1-6BC7-429B-8FF8-5BA07AC26624}"/>
              </a:ext>
              <a:ext uri="{C183D7F6-B498-43B3-948B-1728B52AA6E4}">
                <adec:decorative xmlns:adec="http://schemas.microsoft.com/office/drawing/2017/decorative" val="1"/>
              </a:ext>
            </a:extLst>
          </p:cNvPr>
          <p:cNvGrpSpPr/>
          <p:nvPr/>
        </p:nvGrpSpPr>
        <p:grpSpPr>
          <a:xfrm>
            <a:off x="5333456" y="3154498"/>
            <a:ext cx="603504" cy="603504"/>
            <a:chOff x="6052921" y="4215008"/>
            <a:chExt cx="689056" cy="689056"/>
          </a:xfrm>
        </p:grpSpPr>
        <p:sp>
          <p:nvSpPr>
            <p:cNvPr id="52" name="Oval 47">
              <a:extLst>
                <a:ext uri="{FF2B5EF4-FFF2-40B4-BE49-F238E27FC236}">
                  <a16:creationId xmlns:a16="http://schemas.microsoft.com/office/drawing/2014/main" id="{B3348685-92B7-4120-93A9-F46B8AA1CD01}"/>
                </a:ext>
              </a:extLst>
            </p:cNvPr>
            <p:cNvSpPr/>
            <p:nvPr/>
          </p:nvSpPr>
          <p:spPr bwMode="auto">
            <a:xfrm>
              <a:off x="6052921" y="4215008"/>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3" name="Picture 45">
              <a:extLst>
                <a:ext uri="{FF2B5EF4-FFF2-40B4-BE49-F238E27FC236}">
                  <a16:creationId xmlns:a16="http://schemas.microsoft.com/office/drawing/2014/main" id="{D3341632-A8B8-40E8-82EA-E7C5342A8E7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96750" y="4287923"/>
              <a:ext cx="406400" cy="406400"/>
            </a:xfrm>
            <a:prstGeom prst="rect">
              <a:avLst/>
            </a:prstGeom>
          </p:spPr>
        </p:pic>
        <p:sp>
          <p:nvSpPr>
            <p:cNvPr id="54" name="Freeform 5">
              <a:extLst>
                <a:ext uri="{FF2B5EF4-FFF2-40B4-BE49-F238E27FC236}">
                  <a16:creationId xmlns:a16="http://schemas.microsoft.com/office/drawing/2014/main" id="{F97ABD01-18EE-43AF-9FAE-B5E0B0BA0D63}"/>
                </a:ext>
              </a:extLst>
            </p:cNvPr>
            <p:cNvSpPr>
              <a:spLocks/>
            </p:cNvSpPr>
            <p:nvPr/>
          </p:nvSpPr>
          <p:spPr bwMode="auto">
            <a:xfrm rot="5400000">
              <a:off x="6400402" y="4607142"/>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5" name="Freeform 5">
              <a:extLst>
                <a:ext uri="{FF2B5EF4-FFF2-40B4-BE49-F238E27FC236}">
                  <a16:creationId xmlns:a16="http://schemas.microsoft.com/office/drawing/2014/main" id="{1F1B18DF-0669-432E-B8F2-10D2AFFE9DF2}"/>
                </a:ext>
              </a:extLst>
            </p:cNvPr>
            <p:cNvSpPr>
              <a:spLocks/>
            </p:cNvSpPr>
            <p:nvPr/>
          </p:nvSpPr>
          <p:spPr bwMode="auto">
            <a:xfrm rot="16200000">
              <a:off x="6285590" y="4663328"/>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
        <p:nvSpPr>
          <p:cNvPr id="56" name="Oval 52">
            <a:extLst>
              <a:ext uri="{FF2B5EF4-FFF2-40B4-BE49-F238E27FC236}">
                <a16:creationId xmlns:a16="http://schemas.microsoft.com/office/drawing/2014/main" id="{CFB199C0-6E31-45DC-8609-C092C591E3EF}"/>
              </a:ext>
              <a:ext uri="{C183D7F6-B498-43B3-948B-1728B52AA6E4}">
                <adec:decorative xmlns:adec="http://schemas.microsoft.com/office/drawing/2017/decorative" val="1"/>
              </a:ext>
            </a:extLst>
          </p:cNvPr>
          <p:cNvSpPr/>
          <p:nvPr/>
        </p:nvSpPr>
        <p:spPr bwMode="auto">
          <a:xfrm>
            <a:off x="7397543"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14">
            <a:extLst>
              <a:ext uri="{FF2B5EF4-FFF2-40B4-BE49-F238E27FC236}">
                <a16:creationId xmlns:a16="http://schemas.microsoft.com/office/drawing/2014/main" id="{2001BF17-F5DC-42EF-BB15-5B74E39FA2BA}"/>
              </a:ext>
              <a:ext uri="{C183D7F6-B498-43B3-948B-1728B52AA6E4}">
                <adec:decorative xmlns:adec="http://schemas.microsoft.com/office/drawing/2017/decorative" val="1"/>
              </a:ext>
            </a:extLst>
          </p:cNvPr>
          <p:cNvGrpSpPr>
            <a:grpSpLocks noChangeAspect="1"/>
          </p:cNvGrpSpPr>
          <p:nvPr/>
        </p:nvGrpSpPr>
        <p:grpSpPr bwMode="auto">
          <a:xfrm>
            <a:off x="7588063" y="3299694"/>
            <a:ext cx="222464" cy="296155"/>
            <a:chOff x="6054" y="2812"/>
            <a:chExt cx="160" cy="213"/>
          </a:xfrm>
        </p:grpSpPr>
        <p:sp>
          <p:nvSpPr>
            <p:cNvPr id="58" name="Freeform 16">
              <a:extLst>
                <a:ext uri="{FF2B5EF4-FFF2-40B4-BE49-F238E27FC236}">
                  <a16:creationId xmlns:a16="http://schemas.microsoft.com/office/drawing/2014/main" id="{8EBF960C-3B46-41F5-BCF0-16AAB7411DED}"/>
                </a:ext>
              </a:extLst>
            </p:cNvPr>
            <p:cNvSpPr>
              <a:spLocks/>
            </p:cNvSpPr>
            <p:nvPr/>
          </p:nvSpPr>
          <p:spPr bwMode="auto">
            <a:xfrm>
              <a:off x="6054" y="2812"/>
              <a:ext cx="160"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9" name="Freeform 17">
              <a:extLst>
                <a:ext uri="{FF2B5EF4-FFF2-40B4-BE49-F238E27FC236}">
                  <a16:creationId xmlns:a16="http://schemas.microsoft.com/office/drawing/2014/main" id="{524C2004-12AE-4F2E-867F-D32F2EF8A657}"/>
                </a:ext>
              </a:extLst>
            </p:cNvPr>
            <p:cNvSpPr>
              <a:spLocks/>
            </p:cNvSpPr>
            <p:nvPr/>
          </p:nvSpPr>
          <p:spPr bwMode="auto">
            <a:xfrm>
              <a:off x="6147" y="2816"/>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0" name="Group 8">
            <a:extLst>
              <a:ext uri="{FF2B5EF4-FFF2-40B4-BE49-F238E27FC236}">
                <a16:creationId xmlns:a16="http://schemas.microsoft.com/office/drawing/2014/main" id="{2CD03E00-41A4-4E76-AC7A-D224CDE1A12E}"/>
              </a:ext>
              <a:ext uri="{C183D7F6-B498-43B3-948B-1728B52AA6E4}">
                <adec:decorative xmlns:adec="http://schemas.microsoft.com/office/drawing/2017/decorative" val="1"/>
              </a:ext>
            </a:extLst>
          </p:cNvPr>
          <p:cNvGrpSpPr>
            <a:grpSpLocks noChangeAspect="1"/>
          </p:cNvGrpSpPr>
          <p:nvPr/>
        </p:nvGrpSpPr>
        <p:grpSpPr bwMode="auto">
          <a:xfrm>
            <a:off x="7749460" y="3462746"/>
            <a:ext cx="112784" cy="150061"/>
            <a:chOff x="6171" y="2685"/>
            <a:chExt cx="118" cy="157"/>
          </a:xfrm>
          <a:solidFill>
            <a:srgbClr val="742772"/>
          </a:solidFill>
        </p:grpSpPr>
        <p:sp>
          <p:nvSpPr>
            <p:cNvPr id="61" name="Freeform 9">
              <a:extLst>
                <a:ext uri="{FF2B5EF4-FFF2-40B4-BE49-F238E27FC236}">
                  <a16:creationId xmlns:a16="http://schemas.microsoft.com/office/drawing/2014/main" id="{5D7E8553-F95E-4237-881F-5F094771F986}"/>
                </a:ext>
              </a:extLst>
            </p:cNvPr>
            <p:cNvSpPr>
              <a:spLocks noEditPoints="1"/>
            </p:cNvSpPr>
            <p:nvPr/>
          </p:nvSpPr>
          <p:spPr bwMode="auto">
            <a:xfrm>
              <a:off x="6171" y="2685"/>
              <a:ext cx="118" cy="69"/>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2" name="Freeform 10">
              <a:extLst>
                <a:ext uri="{FF2B5EF4-FFF2-40B4-BE49-F238E27FC236}">
                  <a16:creationId xmlns:a16="http://schemas.microsoft.com/office/drawing/2014/main" id="{C67C57E3-3D6B-40DE-AB56-B7B692A863BB}"/>
                </a:ext>
              </a:extLst>
            </p:cNvPr>
            <p:cNvSpPr>
              <a:spLocks noEditPoints="1"/>
            </p:cNvSpPr>
            <p:nvPr/>
          </p:nvSpPr>
          <p:spPr bwMode="auto">
            <a:xfrm>
              <a:off x="6171" y="2754"/>
              <a:ext cx="117" cy="88"/>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3" name="Freeform 11">
              <a:extLst>
                <a:ext uri="{FF2B5EF4-FFF2-40B4-BE49-F238E27FC236}">
                  <a16:creationId xmlns:a16="http://schemas.microsoft.com/office/drawing/2014/main" id="{62177006-1B71-47F4-A0ED-13FCAEA7D30C}"/>
                </a:ext>
              </a:extLst>
            </p:cNvPr>
            <p:cNvSpPr>
              <a:spLocks/>
            </p:cNvSpPr>
            <p:nvPr/>
          </p:nvSpPr>
          <p:spPr bwMode="auto">
            <a:xfrm>
              <a:off x="6220" y="2791"/>
              <a:ext cx="19" cy="1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4" name="Group 4">
            <a:extLst>
              <a:ext uri="{FF2B5EF4-FFF2-40B4-BE49-F238E27FC236}">
                <a16:creationId xmlns:a16="http://schemas.microsoft.com/office/drawing/2014/main" id="{117FAFF9-42A7-47C2-B09D-3332C2ED8049}"/>
              </a:ext>
              <a:ext uri="{C183D7F6-B498-43B3-948B-1728B52AA6E4}">
                <adec:decorative xmlns:adec="http://schemas.microsoft.com/office/drawing/2017/decorative" val="1"/>
              </a:ext>
            </a:extLst>
          </p:cNvPr>
          <p:cNvGrpSpPr>
            <a:grpSpLocks noChangeAspect="1"/>
          </p:cNvGrpSpPr>
          <p:nvPr/>
        </p:nvGrpSpPr>
        <p:grpSpPr bwMode="auto">
          <a:xfrm>
            <a:off x="3456385" y="1750219"/>
            <a:ext cx="355997" cy="355997"/>
            <a:chOff x="2903" y="1470"/>
            <a:chExt cx="299" cy="299"/>
          </a:xfrm>
        </p:grpSpPr>
        <p:sp>
          <p:nvSpPr>
            <p:cNvPr id="65" name="AutoShape 3">
              <a:extLst>
                <a:ext uri="{FF2B5EF4-FFF2-40B4-BE49-F238E27FC236}">
                  <a16:creationId xmlns:a16="http://schemas.microsoft.com/office/drawing/2014/main" id="{67EEA3C9-0DCE-4275-8A4D-0351AD1CF426}"/>
                </a:ext>
              </a:extLst>
            </p:cNvPr>
            <p:cNvSpPr>
              <a:spLocks noChangeAspect="1" noChangeArrowheads="1" noTextEdit="1"/>
            </p:cNvSpPr>
            <p:nvPr/>
          </p:nvSpPr>
          <p:spPr bwMode="auto">
            <a:xfrm>
              <a:off x="2903" y="1470"/>
              <a:ext cx="299"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6" name="Freeform 5">
              <a:extLst>
                <a:ext uri="{FF2B5EF4-FFF2-40B4-BE49-F238E27FC236}">
                  <a16:creationId xmlns:a16="http://schemas.microsoft.com/office/drawing/2014/main" id="{A3CFB080-4203-4C41-A5B3-BC1D6DAE0B89}"/>
                </a:ext>
              </a:extLst>
            </p:cNvPr>
            <p:cNvSpPr>
              <a:spLocks/>
            </p:cNvSpPr>
            <p:nvPr/>
          </p:nvSpPr>
          <p:spPr bwMode="auto">
            <a:xfrm>
              <a:off x="2941" y="1505"/>
              <a:ext cx="232" cy="164"/>
            </a:xfrm>
            <a:custGeom>
              <a:avLst/>
              <a:gdLst>
                <a:gd name="T0" fmla="*/ 320 w 320"/>
                <a:gd name="T1" fmla="*/ 0 h 227"/>
                <a:gd name="T2" fmla="*/ 320 w 320"/>
                <a:gd name="T3" fmla="*/ 0 h 227"/>
                <a:gd name="T4" fmla="*/ 0 w 320"/>
                <a:gd name="T5" fmla="*/ 0 h 227"/>
                <a:gd name="T6" fmla="*/ 0 w 320"/>
                <a:gd name="T7" fmla="*/ 214 h 227"/>
                <a:gd name="T8" fmla="*/ 31 w 320"/>
                <a:gd name="T9" fmla="*/ 214 h 227"/>
                <a:gd name="T10" fmla="*/ 54 w 320"/>
                <a:gd name="T11" fmla="*/ 191 h 227"/>
                <a:gd name="T12" fmla="*/ 63 w 320"/>
                <a:gd name="T13" fmla="*/ 187 h 227"/>
                <a:gd name="T14" fmla="*/ 73 w 320"/>
                <a:gd name="T15" fmla="*/ 191 h 227"/>
                <a:gd name="T16" fmla="*/ 109 w 320"/>
                <a:gd name="T17" fmla="*/ 227 h 227"/>
                <a:gd name="T18" fmla="*/ 160 w 320"/>
                <a:gd name="T19" fmla="*/ 30 h 227"/>
                <a:gd name="T20" fmla="*/ 165 w 320"/>
                <a:gd name="T21" fmla="*/ 23 h 227"/>
                <a:gd name="T22" fmla="*/ 173 w 320"/>
                <a:gd name="T23" fmla="*/ 20 h 227"/>
                <a:gd name="T24" fmla="*/ 181 w 320"/>
                <a:gd name="T25" fmla="*/ 23 h 227"/>
                <a:gd name="T26" fmla="*/ 186 w 320"/>
                <a:gd name="T27" fmla="*/ 30 h 227"/>
                <a:gd name="T28" fmla="*/ 207 w 320"/>
                <a:gd name="T29" fmla="*/ 117 h 227"/>
                <a:gd name="T30" fmla="*/ 240 w 320"/>
                <a:gd name="T31" fmla="*/ 117 h 227"/>
                <a:gd name="T32" fmla="*/ 248 w 320"/>
                <a:gd name="T33" fmla="*/ 120 h 227"/>
                <a:gd name="T34" fmla="*/ 253 w 320"/>
                <a:gd name="T35" fmla="*/ 127 h 227"/>
                <a:gd name="T36" fmla="*/ 268 w 320"/>
                <a:gd name="T37" fmla="*/ 187 h 227"/>
                <a:gd name="T38" fmla="*/ 320 w 320"/>
                <a:gd name="T39" fmla="*/ 187 h 227"/>
                <a:gd name="T40" fmla="*/ 320 w 320"/>
                <a:gd name="T4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27">
                  <a:moveTo>
                    <a:pt x="320" y="0"/>
                  </a:moveTo>
                  <a:lnTo>
                    <a:pt x="320" y="0"/>
                  </a:lnTo>
                  <a:lnTo>
                    <a:pt x="0" y="0"/>
                  </a:lnTo>
                  <a:lnTo>
                    <a:pt x="0" y="214"/>
                  </a:lnTo>
                  <a:lnTo>
                    <a:pt x="31" y="214"/>
                  </a:lnTo>
                  <a:lnTo>
                    <a:pt x="54" y="191"/>
                  </a:lnTo>
                  <a:cubicBezTo>
                    <a:pt x="56" y="188"/>
                    <a:pt x="60" y="187"/>
                    <a:pt x="63" y="187"/>
                  </a:cubicBezTo>
                  <a:cubicBezTo>
                    <a:pt x="67" y="187"/>
                    <a:pt x="70" y="188"/>
                    <a:pt x="73" y="191"/>
                  </a:cubicBezTo>
                  <a:lnTo>
                    <a:pt x="109" y="227"/>
                  </a:lnTo>
                  <a:lnTo>
                    <a:pt x="160" y="30"/>
                  </a:lnTo>
                  <a:cubicBezTo>
                    <a:pt x="161" y="27"/>
                    <a:pt x="162" y="25"/>
                    <a:pt x="165" y="23"/>
                  </a:cubicBezTo>
                  <a:cubicBezTo>
                    <a:pt x="167" y="21"/>
                    <a:pt x="170" y="20"/>
                    <a:pt x="173" y="20"/>
                  </a:cubicBezTo>
                  <a:cubicBezTo>
                    <a:pt x="176" y="20"/>
                    <a:pt x="179" y="21"/>
                    <a:pt x="181" y="23"/>
                  </a:cubicBezTo>
                  <a:cubicBezTo>
                    <a:pt x="184" y="25"/>
                    <a:pt x="185" y="27"/>
                    <a:pt x="186" y="30"/>
                  </a:cubicBezTo>
                  <a:lnTo>
                    <a:pt x="207" y="117"/>
                  </a:lnTo>
                  <a:lnTo>
                    <a:pt x="240" y="117"/>
                  </a:lnTo>
                  <a:cubicBezTo>
                    <a:pt x="243" y="117"/>
                    <a:pt x="246" y="118"/>
                    <a:pt x="248" y="120"/>
                  </a:cubicBezTo>
                  <a:cubicBezTo>
                    <a:pt x="250" y="122"/>
                    <a:pt x="252" y="124"/>
                    <a:pt x="253" y="127"/>
                  </a:cubicBezTo>
                  <a:lnTo>
                    <a:pt x="268" y="187"/>
                  </a:lnTo>
                  <a:lnTo>
                    <a:pt x="320" y="187"/>
                  </a:lnTo>
                  <a:lnTo>
                    <a:pt x="32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7" name="Freeform 6">
              <a:extLst>
                <a:ext uri="{FF2B5EF4-FFF2-40B4-BE49-F238E27FC236}">
                  <a16:creationId xmlns:a16="http://schemas.microsoft.com/office/drawing/2014/main" id="{D001843C-FCD8-41AA-A9B4-449771D5A278}"/>
                </a:ext>
              </a:extLst>
            </p:cNvPr>
            <p:cNvSpPr>
              <a:spLocks/>
            </p:cNvSpPr>
            <p:nvPr/>
          </p:nvSpPr>
          <p:spPr bwMode="auto">
            <a:xfrm>
              <a:off x="2941" y="1569"/>
              <a:ext cx="232" cy="168"/>
            </a:xfrm>
            <a:custGeom>
              <a:avLst/>
              <a:gdLst>
                <a:gd name="T0" fmla="*/ 320 w 320"/>
                <a:gd name="T1" fmla="*/ 126 h 232"/>
                <a:gd name="T2" fmla="*/ 320 w 320"/>
                <a:gd name="T3" fmla="*/ 126 h 232"/>
                <a:gd name="T4" fmla="*/ 257 w 320"/>
                <a:gd name="T5" fmla="*/ 126 h 232"/>
                <a:gd name="T6" fmla="*/ 249 w 320"/>
                <a:gd name="T7" fmla="*/ 123 h 232"/>
                <a:gd name="T8" fmla="*/ 244 w 320"/>
                <a:gd name="T9" fmla="*/ 115 h 232"/>
                <a:gd name="T10" fmla="*/ 229 w 320"/>
                <a:gd name="T11" fmla="*/ 56 h 232"/>
                <a:gd name="T12" fmla="*/ 197 w 320"/>
                <a:gd name="T13" fmla="*/ 56 h 232"/>
                <a:gd name="T14" fmla="*/ 189 w 320"/>
                <a:gd name="T15" fmla="*/ 53 h 232"/>
                <a:gd name="T16" fmla="*/ 184 w 320"/>
                <a:gd name="T17" fmla="*/ 46 h 232"/>
                <a:gd name="T18" fmla="*/ 173 w 320"/>
                <a:gd name="T19" fmla="*/ 0 h 232"/>
                <a:gd name="T20" fmla="*/ 129 w 320"/>
                <a:gd name="T21" fmla="*/ 169 h 232"/>
                <a:gd name="T22" fmla="*/ 125 w 320"/>
                <a:gd name="T23" fmla="*/ 176 h 232"/>
                <a:gd name="T24" fmla="*/ 116 w 320"/>
                <a:gd name="T25" fmla="*/ 179 h 232"/>
                <a:gd name="T26" fmla="*/ 107 w 320"/>
                <a:gd name="T27" fmla="*/ 175 h 232"/>
                <a:gd name="T28" fmla="*/ 63 w 320"/>
                <a:gd name="T29" fmla="*/ 131 h 232"/>
                <a:gd name="T30" fmla="*/ 46 w 320"/>
                <a:gd name="T31" fmla="*/ 148 h 232"/>
                <a:gd name="T32" fmla="*/ 36 w 320"/>
                <a:gd name="T33" fmla="*/ 152 h 232"/>
                <a:gd name="T34" fmla="*/ 0 w 320"/>
                <a:gd name="T35" fmla="*/ 152 h 232"/>
                <a:gd name="T36" fmla="*/ 0 w 320"/>
                <a:gd name="T37" fmla="*/ 232 h 232"/>
                <a:gd name="T38" fmla="*/ 320 w 320"/>
                <a:gd name="T39" fmla="*/ 232 h 232"/>
                <a:gd name="T40" fmla="*/ 320 w 320"/>
                <a:gd name="T4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32">
                  <a:moveTo>
                    <a:pt x="320" y="126"/>
                  </a:moveTo>
                  <a:lnTo>
                    <a:pt x="320" y="126"/>
                  </a:lnTo>
                  <a:lnTo>
                    <a:pt x="257" y="126"/>
                  </a:lnTo>
                  <a:cubicBezTo>
                    <a:pt x="254" y="126"/>
                    <a:pt x="251" y="125"/>
                    <a:pt x="249" y="123"/>
                  </a:cubicBezTo>
                  <a:cubicBezTo>
                    <a:pt x="247" y="121"/>
                    <a:pt x="245" y="118"/>
                    <a:pt x="244" y="115"/>
                  </a:cubicBezTo>
                  <a:lnTo>
                    <a:pt x="229" y="56"/>
                  </a:lnTo>
                  <a:lnTo>
                    <a:pt x="197" y="56"/>
                  </a:lnTo>
                  <a:cubicBezTo>
                    <a:pt x="194" y="56"/>
                    <a:pt x="191" y="55"/>
                    <a:pt x="189" y="53"/>
                  </a:cubicBezTo>
                  <a:cubicBezTo>
                    <a:pt x="186" y="51"/>
                    <a:pt x="185" y="49"/>
                    <a:pt x="184" y="46"/>
                  </a:cubicBezTo>
                  <a:lnTo>
                    <a:pt x="173" y="0"/>
                  </a:lnTo>
                  <a:lnTo>
                    <a:pt x="129" y="169"/>
                  </a:lnTo>
                  <a:cubicBezTo>
                    <a:pt x="129" y="172"/>
                    <a:pt x="127" y="174"/>
                    <a:pt x="125" y="176"/>
                  </a:cubicBezTo>
                  <a:cubicBezTo>
                    <a:pt x="122" y="178"/>
                    <a:pt x="120" y="179"/>
                    <a:pt x="116" y="179"/>
                  </a:cubicBezTo>
                  <a:cubicBezTo>
                    <a:pt x="113" y="179"/>
                    <a:pt x="110" y="178"/>
                    <a:pt x="107" y="175"/>
                  </a:cubicBezTo>
                  <a:lnTo>
                    <a:pt x="63" y="131"/>
                  </a:lnTo>
                  <a:lnTo>
                    <a:pt x="46" y="148"/>
                  </a:lnTo>
                  <a:cubicBezTo>
                    <a:pt x="43" y="151"/>
                    <a:pt x="40" y="152"/>
                    <a:pt x="36" y="152"/>
                  </a:cubicBezTo>
                  <a:lnTo>
                    <a:pt x="0" y="152"/>
                  </a:lnTo>
                  <a:lnTo>
                    <a:pt x="0" y="232"/>
                  </a:lnTo>
                  <a:lnTo>
                    <a:pt x="320" y="232"/>
                  </a:lnTo>
                  <a:lnTo>
                    <a:pt x="320" y="126"/>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8" name="Group 9">
            <a:extLst>
              <a:ext uri="{FF2B5EF4-FFF2-40B4-BE49-F238E27FC236}">
                <a16:creationId xmlns:a16="http://schemas.microsoft.com/office/drawing/2014/main" id="{3C96BB67-4205-45A3-B217-86DA9B571120}"/>
              </a:ext>
              <a:ext uri="{C183D7F6-B498-43B3-948B-1728B52AA6E4}">
                <adec:decorative xmlns:adec="http://schemas.microsoft.com/office/drawing/2017/decorative" val="1"/>
              </a:ext>
            </a:extLst>
          </p:cNvPr>
          <p:cNvGrpSpPr>
            <a:grpSpLocks noChangeAspect="1"/>
          </p:cNvGrpSpPr>
          <p:nvPr/>
        </p:nvGrpSpPr>
        <p:grpSpPr bwMode="auto">
          <a:xfrm>
            <a:off x="5457826" y="1750219"/>
            <a:ext cx="354806" cy="355997"/>
            <a:chOff x="4584" y="1470"/>
            <a:chExt cx="298" cy="299"/>
          </a:xfrm>
        </p:grpSpPr>
        <p:sp>
          <p:nvSpPr>
            <p:cNvPr id="69" name="AutoShape 8">
              <a:extLst>
                <a:ext uri="{FF2B5EF4-FFF2-40B4-BE49-F238E27FC236}">
                  <a16:creationId xmlns:a16="http://schemas.microsoft.com/office/drawing/2014/main" id="{B535EB09-B145-45CD-89A3-00958AA315D4}"/>
                </a:ext>
              </a:extLst>
            </p:cNvPr>
            <p:cNvSpPr>
              <a:spLocks noChangeAspect="1" noChangeArrowheads="1" noTextEdit="1"/>
            </p:cNvSpPr>
            <p:nvPr/>
          </p:nvSpPr>
          <p:spPr bwMode="auto">
            <a:xfrm>
              <a:off x="4584" y="1470"/>
              <a:ext cx="298"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0" name="Freeform 10">
              <a:extLst>
                <a:ext uri="{FF2B5EF4-FFF2-40B4-BE49-F238E27FC236}">
                  <a16:creationId xmlns:a16="http://schemas.microsoft.com/office/drawing/2014/main" id="{601B5670-F4AA-4A39-8076-A90A08EC8E52}"/>
                </a:ext>
              </a:extLst>
            </p:cNvPr>
            <p:cNvSpPr>
              <a:spLocks/>
            </p:cNvSpPr>
            <p:nvPr/>
          </p:nvSpPr>
          <p:spPr bwMode="auto">
            <a:xfrm>
              <a:off x="4613" y="1611"/>
              <a:ext cx="173" cy="97"/>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1" name="Freeform 11">
              <a:extLst>
                <a:ext uri="{FF2B5EF4-FFF2-40B4-BE49-F238E27FC236}">
                  <a16:creationId xmlns:a16="http://schemas.microsoft.com/office/drawing/2014/main" id="{F616D2F1-A929-4EB1-8EF8-6D6C9BBE5C8C}"/>
                </a:ext>
              </a:extLst>
            </p:cNvPr>
            <p:cNvSpPr>
              <a:spLocks/>
            </p:cNvSpPr>
            <p:nvPr/>
          </p:nvSpPr>
          <p:spPr bwMode="auto">
            <a:xfrm>
              <a:off x="4781" y="1481"/>
              <a:ext cx="67" cy="53"/>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2" name="Freeform 12">
              <a:extLst>
                <a:ext uri="{FF2B5EF4-FFF2-40B4-BE49-F238E27FC236}">
                  <a16:creationId xmlns:a16="http://schemas.microsoft.com/office/drawing/2014/main" id="{D7C99AF7-BD30-466C-A13A-29255CD42050}"/>
                </a:ext>
              </a:extLst>
            </p:cNvPr>
            <p:cNvSpPr>
              <a:spLocks/>
            </p:cNvSpPr>
            <p:nvPr/>
          </p:nvSpPr>
          <p:spPr bwMode="auto">
            <a:xfrm>
              <a:off x="4803" y="1553"/>
              <a:ext cx="60" cy="77"/>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3" name="Freeform 13">
              <a:extLst>
                <a:ext uri="{FF2B5EF4-FFF2-40B4-BE49-F238E27FC236}">
                  <a16:creationId xmlns:a16="http://schemas.microsoft.com/office/drawing/2014/main" id="{6673C2F6-DF53-48D9-A322-2596E3A4FAFB}"/>
                </a:ext>
              </a:extLst>
            </p:cNvPr>
            <p:cNvSpPr>
              <a:spLocks/>
            </p:cNvSpPr>
            <p:nvPr/>
          </p:nvSpPr>
          <p:spPr bwMode="auto">
            <a:xfrm>
              <a:off x="4709" y="1553"/>
              <a:ext cx="77" cy="39"/>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4" name="Freeform 14">
              <a:extLst>
                <a:ext uri="{FF2B5EF4-FFF2-40B4-BE49-F238E27FC236}">
                  <a16:creationId xmlns:a16="http://schemas.microsoft.com/office/drawing/2014/main" id="{4DDE7761-C347-4746-8082-3D549803FC51}"/>
                </a:ext>
              </a:extLst>
            </p:cNvPr>
            <p:cNvSpPr>
              <a:spLocks/>
            </p:cNvSpPr>
            <p:nvPr/>
          </p:nvSpPr>
          <p:spPr bwMode="auto">
            <a:xfrm>
              <a:off x="4715" y="1477"/>
              <a:ext cx="65" cy="57"/>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5" name="Freeform 15">
              <a:extLst>
                <a:ext uri="{FF2B5EF4-FFF2-40B4-BE49-F238E27FC236}">
                  <a16:creationId xmlns:a16="http://schemas.microsoft.com/office/drawing/2014/main" id="{3D6838D3-A620-4015-B769-BFE48A628D5D}"/>
                </a:ext>
              </a:extLst>
            </p:cNvPr>
            <p:cNvSpPr>
              <a:spLocks/>
            </p:cNvSpPr>
            <p:nvPr/>
          </p:nvSpPr>
          <p:spPr bwMode="auto">
            <a:xfrm>
              <a:off x="4647" y="1481"/>
              <a:ext cx="66" cy="53"/>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6" name="Freeform 16">
              <a:extLst>
                <a:ext uri="{FF2B5EF4-FFF2-40B4-BE49-F238E27FC236}">
                  <a16:creationId xmlns:a16="http://schemas.microsoft.com/office/drawing/2014/main" id="{9939FA85-BE9B-48CA-9989-6709B679DFE3}"/>
                </a:ext>
              </a:extLst>
            </p:cNvPr>
            <p:cNvSpPr>
              <a:spLocks/>
            </p:cNvSpPr>
            <p:nvPr/>
          </p:nvSpPr>
          <p:spPr bwMode="auto">
            <a:xfrm>
              <a:off x="4632" y="1553"/>
              <a:ext cx="60" cy="39"/>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7" name="Freeform 17">
              <a:extLst>
                <a:ext uri="{FF2B5EF4-FFF2-40B4-BE49-F238E27FC236}">
                  <a16:creationId xmlns:a16="http://schemas.microsoft.com/office/drawing/2014/main" id="{3BD76D44-0129-402D-9A7D-79A0BBCA37DE}"/>
                </a:ext>
              </a:extLst>
            </p:cNvPr>
            <p:cNvSpPr>
              <a:spLocks/>
            </p:cNvSpPr>
            <p:nvPr/>
          </p:nvSpPr>
          <p:spPr bwMode="auto">
            <a:xfrm>
              <a:off x="4805" y="1650"/>
              <a:ext cx="43" cy="42"/>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8" name="Freeform 18">
              <a:extLst>
                <a:ext uri="{FF2B5EF4-FFF2-40B4-BE49-F238E27FC236}">
                  <a16:creationId xmlns:a16="http://schemas.microsoft.com/office/drawing/2014/main" id="{D28C18B6-F642-48FE-9657-EF77CF9C2776}"/>
                </a:ext>
              </a:extLst>
            </p:cNvPr>
            <p:cNvSpPr>
              <a:spLocks/>
            </p:cNvSpPr>
            <p:nvPr/>
          </p:nvSpPr>
          <p:spPr bwMode="auto">
            <a:xfrm>
              <a:off x="4651" y="1727"/>
              <a:ext cx="96" cy="39"/>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79" name="Group 21">
            <a:extLst>
              <a:ext uri="{FF2B5EF4-FFF2-40B4-BE49-F238E27FC236}">
                <a16:creationId xmlns:a16="http://schemas.microsoft.com/office/drawing/2014/main" id="{C46D1784-FCFF-4B5B-8FEB-D0398BFDC3F7}"/>
              </a:ext>
              <a:ext uri="{C183D7F6-B498-43B3-948B-1728B52AA6E4}">
                <adec:decorative xmlns:adec="http://schemas.microsoft.com/office/drawing/2017/decorative" val="1"/>
              </a:ext>
            </a:extLst>
          </p:cNvPr>
          <p:cNvGrpSpPr>
            <a:grpSpLocks noChangeAspect="1"/>
          </p:cNvGrpSpPr>
          <p:nvPr/>
        </p:nvGrpSpPr>
        <p:grpSpPr bwMode="auto">
          <a:xfrm>
            <a:off x="7521178" y="1747838"/>
            <a:ext cx="355997" cy="365522"/>
            <a:chOff x="6317" y="1468"/>
            <a:chExt cx="299" cy="307"/>
          </a:xfrm>
        </p:grpSpPr>
        <p:sp>
          <p:nvSpPr>
            <p:cNvPr id="80" name="AutoShape 20">
              <a:extLst>
                <a:ext uri="{FF2B5EF4-FFF2-40B4-BE49-F238E27FC236}">
                  <a16:creationId xmlns:a16="http://schemas.microsoft.com/office/drawing/2014/main" id="{4D687CF8-8F1F-485D-8578-6E16B2617869}"/>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1" name="Freeform 22">
              <a:extLst>
                <a:ext uri="{FF2B5EF4-FFF2-40B4-BE49-F238E27FC236}">
                  <a16:creationId xmlns:a16="http://schemas.microsoft.com/office/drawing/2014/main" id="{A96E9F4D-1C67-4856-A989-46D89BDDF234}"/>
                </a:ext>
              </a:extLst>
            </p:cNvPr>
            <p:cNvSpPr>
              <a:spLocks noEditPoints="1"/>
            </p:cNvSpPr>
            <p:nvPr/>
          </p:nvSpPr>
          <p:spPr bwMode="auto">
            <a:xfrm>
              <a:off x="635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2" name="Freeform 23">
              <a:extLst>
                <a:ext uri="{FF2B5EF4-FFF2-40B4-BE49-F238E27FC236}">
                  <a16:creationId xmlns:a16="http://schemas.microsoft.com/office/drawing/2014/main" id="{7A908438-ECA2-4BBA-86B8-6DB1486BCB8C}"/>
                </a:ext>
              </a:extLst>
            </p:cNvPr>
            <p:cNvSpPr>
              <a:spLocks/>
            </p:cNvSpPr>
            <p:nvPr/>
          </p:nvSpPr>
          <p:spPr bwMode="auto">
            <a:xfrm>
              <a:off x="645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3" name="Freeform 24">
              <a:extLst>
                <a:ext uri="{FF2B5EF4-FFF2-40B4-BE49-F238E27FC236}">
                  <a16:creationId xmlns:a16="http://schemas.microsoft.com/office/drawing/2014/main" id="{9EA73001-44D8-40ED-812D-D961840801C6}"/>
                </a:ext>
              </a:extLst>
            </p:cNvPr>
            <p:cNvSpPr>
              <a:spLocks/>
            </p:cNvSpPr>
            <p:nvPr/>
          </p:nvSpPr>
          <p:spPr bwMode="auto">
            <a:xfrm>
              <a:off x="639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4" name="Freeform 25">
              <a:extLst>
                <a:ext uri="{FF2B5EF4-FFF2-40B4-BE49-F238E27FC236}">
                  <a16:creationId xmlns:a16="http://schemas.microsoft.com/office/drawing/2014/main" id="{20FF5FA8-E0B2-4C63-907A-B294334801D6}"/>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85" name="Group 28">
            <a:extLst>
              <a:ext uri="{FF2B5EF4-FFF2-40B4-BE49-F238E27FC236}">
                <a16:creationId xmlns:a16="http://schemas.microsoft.com/office/drawing/2014/main" id="{E6B96FFB-1A05-49DC-8A7A-BB3793E2B2C8}"/>
              </a:ext>
              <a:ext uri="{C183D7F6-B498-43B3-948B-1728B52AA6E4}">
                <adec:decorative xmlns:adec="http://schemas.microsoft.com/office/drawing/2017/decorative" val="1"/>
              </a:ext>
            </a:extLst>
          </p:cNvPr>
          <p:cNvGrpSpPr>
            <a:grpSpLocks noChangeAspect="1"/>
          </p:cNvGrpSpPr>
          <p:nvPr/>
        </p:nvGrpSpPr>
        <p:grpSpPr bwMode="auto">
          <a:xfrm>
            <a:off x="1375172" y="3277791"/>
            <a:ext cx="355997" cy="355997"/>
            <a:chOff x="1155" y="2753"/>
            <a:chExt cx="299" cy="299"/>
          </a:xfrm>
        </p:grpSpPr>
        <p:sp>
          <p:nvSpPr>
            <p:cNvPr id="86" name="AutoShape 27">
              <a:extLst>
                <a:ext uri="{FF2B5EF4-FFF2-40B4-BE49-F238E27FC236}">
                  <a16:creationId xmlns:a16="http://schemas.microsoft.com/office/drawing/2014/main" id="{60D380BB-21DE-4982-A0F7-515251603222}"/>
                </a:ext>
              </a:extLst>
            </p:cNvPr>
            <p:cNvSpPr>
              <a:spLocks noChangeAspect="1" noChangeArrowheads="1" noTextEdit="1"/>
            </p:cNvSpPr>
            <p:nvPr/>
          </p:nvSpPr>
          <p:spPr bwMode="auto">
            <a:xfrm>
              <a:off x="1155" y="2753"/>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7" name="Freeform 29">
              <a:extLst>
                <a:ext uri="{FF2B5EF4-FFF2-40B4-BE49-F238E27FC236}">
                  <a16:creationId xmlns:a16="http://schemas.microsoft.com/office/drawing/2014/main" id="{64AF6236-8F5E-4D26-8668-595AD464997D}"/>
                </a:ext>
              </a:extLst>
            </p:cNvPr>
            <p:cNvSpPr>
              <a:spLocks/>
            </p:cNvSpPr>
            <p:nvPr/>
          </p:nvSpPr>
          <p:spPr bwMode="auto">
            <a:xfrm>
              <a:off x="1175" y="2801"/>
              <a:ext cx="164" cy="48"/>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8" name="Freeform 30">
              <a:extLst>
                <a:ext uri="{FF2B5EF4-FFF2-40B4-BE49-F238E27FC236}">
                  <a16:creationId xmlns:a16="http://schemas.microsoft.com/office/drawing/2014/main" id="{EEE6856F-BC11-49F5-A790-CFB95B6B07CA}"/>
                </a:ext>
              </a:extLst>
            </p:cNvPr>
            <p:cNvSpPr>
              <a:spLocks/>
            </p:cNvSpPr>
            <p:nvPr/>
          </p:nvSpPr>
          <p:spPr bwMode="auto">
            <a:xfrm>
              <a:off x="1175" y="2887"/>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9" name="Freeform 31">
              <a:extLst>
                <a:ext uri="{FF2B5EF4-FFF2-40B4-BE49-F238E27FC236}">
                  <a16:creationId xmlns:a16="http://schemas.microsoft.com/office/drawing/2014/main" id="{C750C70F-E73C-4173-861A-50F90FDB9703}"/>
                </a:ext>
              </a:extLst>
            </p:cNvPr>
            <p:cNvSpPr>
              <a:spLocks/>
            </p:cNvSpPr>
            <p:nvPr/>
          </p:nvSpPr>
          <p:spPr bwMode="auto">
            <a:xfrm>
              <a:off x="1175" y="2973"/>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0" name="Freeform 32">
              <a:extLst>
                <a:ext uri="{FF2B5EF4-FFF2-40B4-BE49-F238E27FC236}">
                  <a16:creationId xmlns:a16="http://schemas.microsoft.com/office/drawing/2014/main" id="{7EDCED0E-B7F7-438D-ACB3-E8A549C1759A}"/>
                </a:ext>
              </a:extLst>
            </p:cNvPr>
            <p:cNvSpPr>
              <a:spLocks/>
            </p:cNvSpPr>
            <p:nvPr/>
          </p:nvSpPr>
          <p:spPr bwMode="auto">
            <a:xfrm>
              <a:off x="1363" y="2872"/>
              <a:ext cx="80" cy="6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1" name="Freeform 33">
              <a:extLst>
                <a:ext uri="{FF2B5EF4-FFF2-40B4-BE49-F238E27FC236}">
                  <a16:creationId xmlns:a16="http://schemas.microsoft.com/office/drawing/2014/main" id="{0C368E29-45EE-4837-837E-DF38DADA2DC8}"/>
                </a:ext>
              </a:extLst>
            </p:cNvPr>
            <p:cNvSpPr>
              <a:spLocks/>
            </p:cNvSpPr>
            <p:nvPr/>
          </p:nvSpPr>
          <p:spPr bwMode="auto">
            <a:xfrm>
              <a:off x="1363" y="2958"/>
              <a:ext cx="80" cy="6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2" name="Freeform 34">
              <a:extLst>
                <a:ext uri="{FF2B5EF4-FFF2-40B4-BE49-F238E27FC236}">
                  <a16:creationId xmlns:a16="http://schemas.microsoft.com/office/drawing/2014/main" id="{95B79E9F-C530-4CBB-B6CA-C22D7ACEA267}"/>
                </a:ext>
              </a:extLst>
            </p:cNvPr>
            <p:cNvSpPr>
              <a:spLocks/>
            </p:cNvSpPr>
            <p:nvPr/>
          </p:nvSpPr>
          <p:spPr bwMode="auto">
            <a:xfrm>
              <a:off x="1363" y="2786"/>
              <a:ext cx="80" cy="63"/>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Tree>
    <p:extLst>
      <p:ext uri="{BB962C8B-B14F-4D97-AF65-F5344CB8AC3E}">
        <p14:creationId xmlns:p14="http://schemas.microsoft.com/office/powerpoint/2010/main" val="318222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830997"/>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Connector Access &amp; Data Loss Prevention Policie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4</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141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22754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001" y="-10884"/>
            <a:ext cx="4804587" cy="1224989"/>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180056"/>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Connection Creation and Authentication</a:t>
            </a:r>
          </a:p>
        </p:txBody>
      </p:sp>
      <p:sp>
        <p:nvSpPr>
          <p:cNvPr id="32" name="TextBox 31">
            <a:extLst>
              <a:ext uri="{FF2B5EF4-FFF2-40B4-BE49-F238E27FC236}">
                <a16:creationId xmlns:a16="http://schemas.microsoft.com/office/drawing/2014/main" id="{FFCBFB49-CBCA-40B7-9774-CE88DC269823}"/>
              </a:ext>
            </a:extLst>
          </p:cNvPr>
          <p:cNvSpPr txBox="1"/>
          <p:nvPr/>
        </p:nvSpPr>
        <p:spPr>
          <a:xfrm>
            <a:off x="944798" y="1528874"/>
            <a:ext cx="4636394"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Apps and flows establish connection to the data source using prebuilt or custom connector in context of the user</a:t>
            </a:r>
          </a:p>
        </p:txBody>
      </p:sp>
      <p:sp>
        <p:nvSpPr>
          <p:cNvPr id="33" name="TextBox 32">
            <a:extLst>
              <a:ext uri="{FF2B5EF4-FFF2-40B4-BE49-F238E27FC236}">
                <a16:creationId xmlns:a16="http://schemas.microsoft.com/office/drawing/2014/main" id="{026786EC-A8DE-40A9-BBDE-C694E3891723}"/>
              </a:ext>
            </a:extLst>
          </p:cNvPr>
          <p:cNvSpPr txBox="1"/>
          <p:nvPr/>
        </p:nvSpPr>
        <p:spPr>
          <a:xfrm>
            <a:off x="944797" y="2159445"/>
            <a:ext cx="4367003" cy="415498"/>
          </a:xfrm>
          <a:prstGeom prst="rect">
            <a:avLst/>
          </a:prstGeom>
          <a:noFill/>
          <a:ln>
            <a:noFill/>
          </a:ln>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User needs to authenticate based on the mechanisms supported by the connector to establish a connection</a:t>
            </a:r>
          </a:p>
        </p:txBody>
      </p:sp>
      <p:sp>
        <p:nvSpPr>
          <p:cNvPr id="34" name="TextBox 33">
            <a:extLst>
              <a:ext uri="{FF2B5EF4-FFF2-40B4-BE49-F238E27FC236}">
                <a16:creationId xmlns:a16="http://schemas.microsoft.com/office/drawing/2014/main" id="{2DF6D385-664D-47C1-B5D5-36580A1C557B}"/>
              </a:ext>
            </a:extLst>
          </p:cNvPr>
          <p:cNvSpPr txBox="1"/>
          <p:nvPr/>
        </p:nvSpPr>
        <p:spPr>
          <a:xfrm>
            <a:off x="944797" y="2836318"/>
            <a:ext cx="4467605" cy="623248"/>
          </a:xfrm>
          <a:prstGeom prst="rect">
            <a:avLst/>
          </a:prstGeom>
          <a:noFill/>
        </p:spPr>
        <p:txBody>
          <a:bodyPr wrap="square" lIns="0" tIns="0" rIns="0" bIns="0" rtlCol="0">
            <a:spAutoFit/>
          </a:bodyPr>
          <a:lstStyle/>
          <a:p>
            <a:pPr defTabSz="685775">
              <a:spcBef>
                <a:spcPts val="882"/>
              </a:spcBef>
              <a:spcAft>
                <a:spcPts val="1471"/>
              </a:spcAft>
            </a:pPr>
            <a:r>
              <a:rPr lang="en-US" sz="1350" dirty="0">
                <a:solidFill>
                  <a:srgbClr val="3C3C41"/>
                </a:solidFill>
                <a:latin typeface="Segoe UI"/>
              </a:rPr>
              <a:t>Typical connection types supported by connectors include – AAD, OAuth, </a:t>
            </a:r>
            <a:r>
              <a:rPr lang="en-US" sz="1350" dirty="0" err="1">
                <a:solidFill>
                  <a:srgbClr val="3C3C41"/>
                </a:solidFill>
                <a:latin typeface="Segoe UI"/>
              </a:rPr>
              <a:t>APIKey</a:t>
            </a:r>
            <a:r>
              <a:rPr lang="en-US" sz="1350" dirty="0">
                <a:solidFill>
                  <a:srgbClr val="3C3C41"/>
                </a:solidFill>
                <a:latin typeface="Segoe UI"/>
              </a:rPr>
              <a:t>, Windows Auth, Basic, No Auth etc. Some connectors may support multiple auth types</a:t>
            </a:r>
          </a:p>
        </p:txBody>
      </p:sp>
      <p:sp>
        <p:nvSpPr>
          <p:cNvPr id="9" name="Freeform: Shape 8">
            <a:extLst>
              <a:ext uri="{FF2B5EF4-FFF2-40B4-BE49-F238E27FC236}">
                <a16:creationId xmlns:a16="http://schemas.microsoft.com/office/drawing/2014/main" id="{49929720-C2F0-41F6-886C-467C0DDA1678}"/>
              </a:ext>
            </a:extLst>
          </p:cNvPr>
          <p:cNvSpPr/>
          <p:nvPr/>
        </p:nvSpPr>
        <p:spPr>
          <a:xfrm flipH="1">
            <a:off x="5864476" y="1390857"/>
            <a:ext cx="3334649" cy="1872333"/>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nvGrpSpPr>
          <p:cNvPr id="23" name="Group 22">
            <a:extLst>
              <a:ext uri="{FF2B5EF4-FFF2-40B4-BE49-F238E27FC236}">
                <a16:creationId xmlns:a16="http://schemas.microsoft.com/office/drawing/2014/main" id="{4D14DA91-5589-4EBD-ACF0-967961D4E9FB}"/>
              </a:ext>
            </a:extLst>
          </p:cNvPr>
          <p:cNvGrpSpPr/>
          <p:nvPr/>
        </p:nvGrpSpPr>
        <p:grpSpPr>
          <a:xfrm>
            <a:off x="348781" y="2202313"/>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409797" y="1527941"/>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307151" y="2865276"/>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
        <p:nvSpPr>
          <p:cNvPr id="2" name="transform_2" title="Icon of a circle and a square with a curved arrow between them">
            <a:extLst>
              <a:ext uri="{FF2B5EF4-FFF2-40B4-BE49-F238E27FC236}">
                <a16:creationId xmlns:a16="http://schemas.microsoft.com/office/drawing/2014/main" id="{83C74356-DC56-4E7A-8D0D-6B2C0ACBF0DD}"/>
              </a:ext>
            </a:extLst>
          </p:cNvPr>
          <p:cNvSpPr>
            <a:spLocks noChangeAspect="1" noEditPoints="1"/>
          </p:cNvSpPr>
          <p:nvPr/>
        </p:nvSpPr>
        <p:spPr bwMode="auto">
          <a:xfrm>
            <a:off x="446455" y="4410593"/>
            <a:ext cx="350951" cy="325058"/>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70" tIns="34285" rIns="68570" bIns="34285" numCol="1" anchor="t" anchorCtr="0" compatLnSpc="1">
            <a:prstTxWarp prst="textNoShape">
              <a:avLst/>
            </a:prstTxWarp>
          </a:bodyPr>
          <a:lstStyle/>
          <a:p>
            <a:pPr defTabSz="699381">
              <a:defRPr/>
            </a:pPr>
            <a:endParaRPr lang="en-US" sz="1377">
              <a:gradFill>
                <a:gsLst>
                  <a:gs pos="0">
                    <a:srgbClr val="505050"/>
                  </a:gs>
                  <a:gs pos="100000">
                    <a:srgbClr val="505050"/>
                  </a:gs>
                </a:gsLst>
                <a:lin ang="5400000" scaled="1"/>
              </a:gradFill>
              <a:latin typeface="Segoe UI"/>
            </a:endParaRPr>
          </a:p>
        </p:txBody>
      </p:sp>
      <p:sp>
        <p:nvSpPr>
          <p:cNvPr id="3" name="TextBox 2">
            <a:extLst>
              <a:ext uri="{FF2B5EF4-FFF2-40B4-BE49-F238E27FC236}">
                <a16:creationId xmlns:a16="http://schemas.microsoft.com/office/drawing/2014/main" id="{4555D338-0F20-4DA1-8AFD-E7D35A7DCB3B}"/>
              </a:ext>
            </a:extLst>
          </p:cNvPr>
          <p:cNvSpPr txBox="1"/>
          <p:nvPr/>
        </p:nvSpPr>
        <p:spPr>
          <a:xfrm>
            <a:off x="944797" y="4354091"/>
            <a:ext cx="4467605"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Canvas app connections can be edited, deleted and shared (if implicit sharing is allowed) by the connection creators</a:t>
            </a:r>
          </a:p>
        </p:txBody>
      </p:sp>
      <p:sp>
        <p:nvSpPr>
          <p:cNvPr id="6" name="shield_3" title="Icon of a shield with an exclamation point inside">
            <a:extLst>
              <a:ext uri="{FF2B5EF4-FFF2-40B4-BE49-F238E27FC236}">
                <a16:creationId xmlns:a16="http://schemas.microsoft.com/office/drawing/2014/main" id="{581691E9-F463-48B2-8109-BF5A1C3FC1E2}"/>
              </a:ext>
            </a:extLst>
          </p:cNvPr>
          <p:cNvSpPr>
            <a:spLocks noChangeAspect="1" noEditPoints="1"/>
          </p:cNvSpPr>
          <p:nvPr/>
        </p:nvSpPr>
        <p:spPr bwMode="auto">
          <a:xfrm>
            <a:off x="434244" y="3670350"/>
            <a:ext cx="313668" cy="317906"/>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sp>
        <p:nvSpPr>
          <p:cNvPr id="70" name="TextBox 69">
            <a:extLst>
              <a:ext uri="{FF2B5EF4-FFF2-40B4-BE49-F238E27FC236}">
                <a16:creationId xmlns:a16="http://schemas.microsoft.com/office/drawing/2014/main" id="{7E25046C-85CB-4BDD-851D-8708B3AF5EAB}"/>
              </a:ext>
            </a:extLst>
          </p:cNvPr>
          <p:cNvSpPr txBox="1"/>
          <p:nvPr/>
        </p:nvSpPr>
        <p:spPr>
          <a:xfrm>
            <a:off x="944798" y="3656943"/>
            <a:ext cx="4906544" cy="507831"/>
          </a:xfrm>
          <a:prstGeom prst="rect">
            <a:avLst/>
          </a:prstGeom>
          <a:noFill/>
        </p:spPr>
        <p:txBody>
          <a:bodyPr wrap="square">
            <a:spAutoFit/>
          </a:bodyPr>
          <a:lstStyle/>
          <a:p>
            <a:r>
              <a:rPr lang="en-US" sz="1350">
                <a:solidFill>
                  <a:srgbClr val="3C3C41"/>
                </a:solidFill>
                <a:latin typeface="Segoe UI"/>
              </a:rPr>
              <a:t>Existing </a:t>
            </a:r>
            <a:r>
              <a:rPr lang="en-US" sz="1350" err="1">
                <a:solidFill>
                  <a:srgbClr val="3C3C41"/>
                </a:solidFill>
                <a:latin typeface="Segoe UI"/>
              </a:rPr>
              <a:t>AuthZ</a:t>
            </a:r>
            <a:r>
              <a:rPr lang="en-US" sz="1350">
                <a:solidFill>
                  <a:srgbClr val="3C3C41"/>
                </a:solidFill>
                <a:latin typeface="Segoe UI"/>
              </a:rPr>
              <a:t>/</a:t>
            </a:r>
            <a:r>
              <a:rPr lang="en-US" sz="1350" err="1">
                <a:solidFill>
                  <a:srgbClr val="3C3C41"/>
                </a:solidFill>
                <a:latin typeface="Segoe UI"/>
              </a:rPr>
              <a:t>AuthN</a:t>
            </a:r>
            <a:r>
              <a:rPr lang="en-US" sz="1350">
                <a:solidFill>
                  <a:srgbClr val="3C3C41"/>
                </a:solidFill>
                <a:latin typeface="Segoe UI"/>
              </a:rPr>
              <a:t> rights of the user accrue upon establishing the connection</a:t>
            </a:r>
            <a:endParaRPr lang="en-US" sz="1350"/>
          </a:p>
        </p:txBody>
      </p:sp>
      <p:pic>
        <p:nvPicPr>
          <p:cNvPr id="73" name="Picture 72">
            <a:extLst>
              <a:ext uri="{FF2B5EF4-FFF2-40B4-BE49-F238E27FC236}">
                <a16:creationId xmlns:a16="http://schemas.microsoft.com/office/drawing/2014/main" id="{0E2D5417-F0B2-447A-85B4-63669BC256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88827" y="1485180"/>
            <a:ext cx="3092776" cy="1682255"/>
          </a:xfrm>
          <a:prstGeom prst="rect">
            <a:avLst/>
          </a:prstGeom>
        </p:spPr>
      </p:pic>
    </p:spTree>
    <p:extLst>
      <p:ext uri="{BB962C8B-B14F-4D97-AF65-F5344CB8AC3E}">
        <p14:creationId xmlns:p14="http://schemas.microsoft.com/office/powerpoint/2010/main" val="3544644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de-DE" dirty="0"/>
              <a:t>Data loss prevention key facts</a:t>
            </a:r>
            <a:endParaRPr lang="en-US" dirty="0"/>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150890" y="1049323"/>
            <a:ext cx="2798983" cy="3460955"/>
          </a:xfrm>
          <a:prstGeom prst="rect">
            <a:avLst/>
          </a:prstGeom>
        </p:spPr>
        <p:txBody>
          <a:bodyPr anchor="ct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dirty="0">
                <a:solidFill>
                  <a:srgbClr val="3C3C41"/>
                </a:solidFill>
                <a:latin typeface="Segoe UI"/>
              </a:rPr>
              <a:t>Data loss prevention policies (DLP) enforce rules for which connectors can be used together </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Connectors are classified as either Business Data only or No Business Data allowed</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A connector in the business data only group can only be used with other connectors from that group in the same app or flow</a:t>
            </a:r>
            <a:r>
              <a:rPr lang="en-US" sz="1200" spc="-37" dirty="0">
                <a:solidFill>
                  <a:srgbClr val="3C3C41"/>
                </a:solidFill>
                <a:latin typeface="Segoe UI"/>
              </a:rPr>
              <a:t>.</a:t>
            </a:r>
            <a:endParaRPr lang="en-US" sz="1176" spc="-37" dirty="0">
              <a:solidFill>
                <a:srgbClr val="3C3C41"/>
              </a:solidFill>
              <a:latin typeface="Segoe UI"/>
            </a:endParaRPr>
          </a:p>
          <a:p>
            <a:pPr>
              <a:spcBef>
                <a:spcPts val="900"/>
              </a:spcBef>
              <a:spcAft>
                <a:spcPts val="900"/>
              </a:spcAft>
            </a:pPr>
            <a:r>
              <a:rPr lang="en-US" sz="1176" dirty="0">
                <a:solidFill>
                  <a:srgbClr val="3C3C41"/>
                </a:solidFill>
                <a:latin typeface="Segoe UI"/>
              </a:rPr>
              <a:t>Tenant admins can define policies that apply to all environments</a:t>
            </a:r>
          </a:p>
          <a:p>
            <a:pPr>
              <a:spcBef>
                <a:spcPts val="900"/>
              </a:spcBef>
              <a:spcAft>
                <a:spcPts val="900"/>
              </a:spcAft>
            </a:pPr>
            <a:r>
              <a:rPr lang="en-US" sz="1180" dirty="0">
                <a:latin typeface="Segoe UI" panose="020B0502040204020203" pitchFamily="34" charset="0"/>
                <a:cs typeface="Segoe UI" panose="020B0502040204020203" pitchFamily="34" charset="0"/>
              </a:rPr>
              <a:t>Fully block usage of 3</a:t>
            </a:r>
            <a:r>
              <a:rPr lang="en-US" sz="1180" baseline="30000" dirty="0">
                <a:latin typeface="Segoe UI" panose="020B0502040204020203" pitchFamily="34" charset="0"/>
                <a:cs typeface="Segoe UI" panose="020B0502040204020203" pitchFamily="34" charset="0"/>
              </a:rPr>
              <a:t>rd</a:t>
            </a:r>
            <a:r>
              <a:rPr lang="en-US" sz="1180" dirty="0">
                <a:latin typeface="Segoe UI" panose="020B0502040204020203" pitchFamily="34" charset="0"/>
                <a:cs typeface="Segoe UI" panose="020B0502040204020203" pitchFamily="34" charset="0"/>
              </a:rPr>
              <a:t> party connectors (standard and premium) as well as Microsoft owned premium connectors</a:t>
            </a:r>
          </a:p>
        </p:txBody>
      </p:sp>
      <p:grpSp>
        <p:nvGrpSpPr>
          <p:cNvPr id="4" name="Group 3" descr="Laptop Outline Graphic">
            <a:extLst>
              <a:ext uri="{FF2B5EF4-FFF2-40B4-BE49-F238E27FC236}">
                <a16:creationId xmlns:a16="http://schemas.microsoft.com/office/drawing/2014/main" id="{FFDEDE99-3295-4BC0-A5D8-8AA7041A4793}"/>
              </a:ext>
            </a:extLst>
          </p:cNvPr>
          <p:cNvGrpSpPr/>
          <p:nvPr/>
        </p:nvGrpSpPr>
        <p:grpSpPr>
          <a:xfrm>
            <a:off x="4382521" y="747777"/>
            <a:ext cx="6217199" cy="4140596"/>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26" name="Processing_E9F5">
            <a:extLst>
              <a:ext uri="{FF2B5EF4-FFF2-40B4-BE49-F238E27FC236}">
                <a16:creationId xmlns:a16="http://schemas.microsoft.com/office/drawing/2014/main" id="{46FA9BC0-BEEC-4453-912D-93318F0A78C2}"/>
              </a:ext>
              <a:ext uri="{C183D7F6-B498-43B3-948B-1728B52AA6E4}">
                <adec:decorative xmlns:adec="http://schemas.microsoft.com/office/drawing/2017/decorative" val="1"/>
              </a:ext>
            </a:extLst>
          </p:cNvPr>
          <p:cNvSpPr>
            <a:spLocks noChangeAspect="1" noEditPoints="1"/>
          </p:cNvSpPr>
          <p:nvPr/>
        </p:nvSpPr>
        <p:spPr bwMode="auto">
          <a:xfrm>
            <a:off x="504868" y="3414798"/>
            <a:ext cx="397874" cy="34652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9" name="arrow_6">
            <a:extLst>
              <a:ext uri="{FF2B5EF4-FFF2-40B4-BE49-F238E27FC236}">
                <a16:creationId xmlns:a16="http://schemas.microsoft.com/office/drawing/2014/main" id="{614489F1-F57F-4826-90FD-53F057EDD514}"/>
              </a:ext>
              <a:ext uri="{C183D7F6-B498-43B3-948B-1728B52AA6E4}">
                <adec:decorative xmlns:adec="http://schemas.microsoft.com/office/drawing/2017/decorative" val="1"/>
              </a:ext>
            </a:extLst>
          </p:cNvPr>
          <p:cNvSpPr>
            <a:spLocks noChangeAspect="1" noEditPoints="1"/>
          </p:cNvSpPr>
          <p:nvPr/>
        </p:nvSpPr>
        <p:spPr bwMode="auto">
          <a:xfrm>
            <a:off x="553918" y="109702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sp>
        <p:nvSpPr>
          <p:cNvPr id="27" name="transform_2">
            <a:extLst>
              <a:ext uri="{FF2B5EF4-FFF2-40B4-BE49-F238E27FC236}">
                <a16:creationId xmlns:a16="http://schemas.microsoft.com/office/drawing/2014/main" id="{357537CD-53E0-4D83-98B3-AB16E9D9A500}"/>
              </a:ext>
              <a:ext uri="{C183D7F6-B498-43B3-948B-1728B52AA6E4}">
                <adec:decorative xmlns:adec="http://schemas.microsoft.com/office/drawing/2017/decorative" val="1"/>
              </a:ext>
            </a:extLst>
          </p:cNvPr>
          <p:cNvSpPr>
            <a:spLocks noChangeAspect="1" noEditPoints="1"/>
          </p:cNvSpPr>
          <p:nvPr/>
        </p:nvSpPr>
        <p:spPr bwMode="auto">
          <a:xfrm>
            <a:off x="549813" y="2486521"/>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0" name="Picture 15">
            <a:extLst>
              <a:ext uri="{FF2B5EF4-FFF2-40B4-BE49-F238E27FC236}">
                <a16:creationId xmlns:a16="http://schemas.microsoft.com/office/drawing/2014/main" id="{1ED5EB3A-5919-4C27-851F-FC9974CD70F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76773" y="1873291"/>
            <a:ext cx="454064" cy="346522"/>
          </a:xfrm>
          <a:prstGeom prst="rect">
            <a:avLst/>
          </a:prstGeom>
          <a:ln>
            <a:solidFill>
              <a:schemeClr val="bg1"/>
            </a:solidFill>
          </a:ln>
        </p:spPr>
      </p:pic>
      <p:pic>
        <p:nvPicPr>
          <p:cNvPr id="8" name="Grafik 7">
            <a:extLst>
              <a:ext uri="{FF2B5EF4-FFF2-40B4-BE49-F238E27FC236}">
                <a16:creationId xmlns:a16="http://schemas.microsoft.com/office/drawing/2014/main" id="{DEEB72C1-A372-4F92-8D58-74F65C9272C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0008" y="1873291"/>
            <a:ext cx="255777" cy="255777"/>
          </a:xfrm>
          <a:prstGeom prst="rect">
            <a:avLst/>
          </a:prstGeom>
        </p:spPr>
      </p:pic>
      <p:sp>
        <p:nvSpPr>
          <p:cNvPr id="5" name="arrow_6">
            <a:extLst>
              <a:ext uri="{FF2B5EF4-FFF2-40B4-BE49-F238E27FC236}">
                <a16:creationId xmlns:a16="http://schemas.microsoft.com/office/drawing/2014/main" id="{D50138FE-D359-42F9-AF17-4431FD3F8580}"/>
              </a:ext>
              <a:ext uri="{C183D7F6-B498-43B3-948B-1728B52AA6E4}">
                <adec:decorative xmlns:adec="http://schemas.microsoft.com/office/drawing/2017/decorative" val="1"/>
              </a:ext>
            </a:extLst>
          </p:cNvPr>
          <p:cNvSpPr>
            <a:spLocks noChangeAspect="1" noEditPoints="1"/>
          </p:cNvSpPr>
          <p:nvPr/>
        </p:nvSpPr>
        <p:spPr bwMode="auto">
          <a:xfrm>
            <a:off x="570008" y="409145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pic>
        <p:nvPicPr>
          <p:cNvPr id="13" name="Picture 12" descr="DLP Policies, Edit Policy Screen - Screenshot">
            <a:extLst>
              <a:ext uri="{FF2B5EF4-FFF2-40B4-BE49-F238E27FC236}">
                <a16:creationId xmlns:a16="http://schemas.microsoft.com/office/drawing/2014/main" id="{F188116A-976E-4A0E-9938-3072A95E154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12195" y="1648173"/>
            <a:ext cx="3831805" cy="2339804"/>
          </a:xfrm>
          <a:prstGeom prst="rect">
            <a:avLst/>
          </a:prstGeom>
        </p:spPr>
      </p:pic>
    </p:spTree>
    <p:extLst>
      <p:ext uri="{BB962C8B-B14F-4D97-AF65-F5344CB8AC3E}">
        <p14:creationId xmlns:p14="http://schemas.microsoft.com/office/powerpoint/2010/main" val="415005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45F7C8C8-B5AC-4BF0-ACC3-C6EC7BADE132}"/>
              </a:ext>
              <a:ext uri="{C183D7F6-B498-43B3-948B-1728B52AA6E4}">
                <adec:decorative xmlns:adec="http://schemas.microsoft.com/office/drawing/2017/decorative" val="1"/>
              </a:ext>
            </a:extLst>
          </p:cNvPr>
          <p:cNvSpPr/>
          <p:nvPr/>
        </p:nvSpPr>
        <p:spPr bwMode="auto">
          <a:xfrm>
            <a:off x="391793" y="2682364"/>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9" name="Freeform: Shape 8">
            <a:extLst>
              <a:ext uri="{FF2B5EF4-FFF2-40B4-BE49-F238E27FC236}">
                <a16:creationId xmlns:a16="http://schemas.microsoft.com/office/drawing/2014/main" id="{524214CE-99F5-4102-8FA3-DB12099E92FA}"/>
              </a:ext>
              <a:ext uri="{C183D7F6-B498-43B3-948B-1728B52AA6E4}">
                <adec:decorative xmlns:adec="http://schemas.microsoft.com/office/drawing/2017/decorative" val="1"/>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0" name="Title 7">
            <a:extLst>
              <a:ext uri="{FF2B5EF4-FFF2-40B4-BE49-F238E27FC236}">
                <a16:creationId xmlns:a16="http://schemas.microsoft.com/office/drawing/2014/main" id="{779B4CF8-844D-4F39-9B62-528367899A56}"/>
              </a:ext>
            </a:extLst>
          </p:cNvPr>
          <p:cNvSpPr txBox="1">
            <a:spLocks noGrp="1"/>
          </p:cNvSpPr>
          <p:nvPr>
            <p:ph type="title" idx="4294967295"/>
          </p:nvPr>
        </p:nvSpPr>
        <p:spPr>
          <a:xfrm>
            <a:off x="102550" y="485775"/>
            <a:ext cx="3162300" cy="7842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550" b="0" i="0" u="none" strike="noStrike" kern="1200" cap="none" spc="-50" normalizeH="0" baseline="0" noProof="0" dirty="0">
                <a:ln w="3175">
                  <a:noFill/>
                </a:ln>
                <a:solidFill>
                  <a:schemeClr val="bg1"/>
                </a:solidFill>
                <a:effectLst/>
                <a:uLnTx/>
                <a:uFillTx/>
                <a:latin typeface="+mj-lt"/>
                <a:ea typeface="+mn-ea"/>
                <a:cs typeface="Segoe UI" pitchFamily="34" charset="0"/>
              </a:rPr>
              <a:t>Tenant and Environment Policies</a:t>
            </a:r>
          </a:p>
        </p:txBody>
      </p:sp>
      <p:sp>
        <p:nvSpPr>
          <p:cNvPr id="11" name="Text Placeholder 2">
            <a:extLst>
              <a:ext uri="{FF2B5EF4-FFF2-40B4-BE49-F238E27FC236}">
                <a16:creationId xmlns:a16="http://schemas.microsoft.com/office/drawing/2014/main" id="{577CFAF5-0ECD-4EF5-BE27-CB7D6578909C}"/>
              </a:ext>
            </a:extLst>
          </p:cNvPr>
          <p:cNvSpPr txBox="1">
            <a:spLocks/>
          </p:cNvSpPr>
          <p:nvPr/>
        </p:nvSpPr>
        <p:spPr>
          <a:xfrm>
            <a:off x="54070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dirty="0">
                <a:solidFill>
                  <a:schemeClr val="bg1"/>
                </a:solidFill>
              </a:rPr>
              <a:t>Power Platform DLP allows admins to create two types</a:t>
            </a:r>
            <a:br>
              <a:rPr lang="en-US" sz="1500" dirty="0">
                <a:solidFill>
                  <a:schemeClr val="bg1"/>
                </a:solidFill>
              </a:rPr>
            </a:br>
            <a:r>
              <a:rPr lang="en-US" sz="1500" dirty="0">
                <a:solidFill>
                  <a:schemeClr val="bg1"/>
                </a:solidFill>
              </a:rPr>
              <a:t>of policies</a:t>
            </a:r>
          </a:p>
        </p:txBody>
      </p:sp>
      <p:sp>
        <p:nvSpPr>
          <p:cNvPr id="12" name="Diamond 95">
            <a:extLst>
              <a:ext uri="{FF2B5EF4-FFF2-40B4-BE49-F238E27FC236}">
                <a16:creationId xmlns:a16="http://schemas.microsoft.com/office/drawing/2014/main" id="{5C66572F-17B6-425E-B2A6-E151E76563AC}"/>
              </a:ext>
              <a:ext uri="{C183D7F6-B498-43B3-948B-1728B52AA6E4}">
                <adec:decorative xmlns:adec="http://schemas.microsoft.com/office/drawing/2017/decorative" val="1"/>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3" name="Diamond 12">
            <a:extLst>
              <a:ext uri="{FF2B5EF4-FFF2-40B4-BE49-F238E27FC236}">
                <a16:creationId xmlns:a16="http://schemas.microsoft.com/office/drawing/2014/main" id="{99C547BD-9716-446A-860B-2CB90BA55D4E}"/>
              </a:ext>
              <a:ext uri="{C183D7F6-B498-43B3-948B-1728B52AA6E4}">
                <adec:decorative xmlns:adec="http://schemas.microsoft.com/office/drawing/2017/decorative" val="1"/>
              </a:ext>
            </a:extLst>
          </p:cNvPr>
          <p:cNvSpPr/>
          <p:nvPr/>
        </p:nvSpPr>
        <p:spPr bwMode="auto">
          <a:xfrm>
            <a:off x="735579" y="2794819"/>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4" name="TextBox 13">
            <a:extLst>
              <a:ext uri="{FF2B5EF4-FFF2-40B4-BE49-F238E27FC236}">
                <a16:creationId xmlns:a16="http://schemas.microsoft.com/office/drawing/2014/main" id="{1057CAA8-4237-409E-A86B-7823D862DE21}"/>
              </a:ext>
            </a:extLst>
          </p:cNvPr>
          <p:cNvSpPr txBox="1"/>
          <p:nvPr/>
        </p:nvSpPr>
        <p:spPr>
          <a:xfrm>
            <a:off x="4644828" y="485775"/>
            <a:ext cx="4240227" cy="250837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Tena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only for - Power Platform Administrator, </a:t>
            </a:r>
            <a:br>
              <a:rPr lang="en-US"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Dynamics 365 Administrator or Global administrator rol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e, more than one or all environments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created without associating any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tenant admin</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onnector settings are visible to all relevant environment admins but are not editable by them</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not be used to manage custom connector policies since they are scoped to a specific environment</a:t>
            </a:r>
          </a:p>
        </p:txBody>
      </p:sp>
      <p:sp>
        <p:nvSpPr>
          <p:cNvPr id="15" name="TextBox 14">
            <a:extLst>
              <a:ext uri="{FF2B5EF4-FFF2-40B4-BE49-F238E27FC236}">
                <a16:creationId xmlns:a16="http://schemas.microsoft.com/office/drawing/2014/main" id="{FCB1DB12-F03B-4398-B0A1-DBB347BCD3C2}"/>
              </a:ext>
            </a:extLst>
          </p:cNvPr>
          <p:cNvSpPr txBox="1"/>
          <p:nvPr/>
        </p:nvSpPr>
        <p:spPr>
          <a:xfrm>
            <a:off x="2360818" y="3324047"/>
            <a:ext cx="6676990" cy="152092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Environme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for Environment Admin role associated with the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ly one environment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pecifying the environment is mandatory to create the policy</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environment admin (of the environment) and tenant admin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used to manage custom connectors for their environment</a:t>
            </a:r>
          </a:p>
        </p:txBody>
      </p:sp>
    </p:spTree>
    <p:extLst>
      <p:ext uri="{BB962C8B-B14F-4D97-AF65-F5344CB8AC3E}">
        <p14:creationId xmlns:p14="http://schemas.microsoft.com/office/powerpoint/2010/main" val="213372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3896C44F-C80F-41D1-B04F-D953A5EE8B84}"/>
              </a:ext>
            </a:extLst>
          </p:cNvPr>
          <p:cNvSpPr/>
          <p:nvPr/>
        </p:nvSpPr>
        <p:spPr bwMode="auto">
          <a:xfrm>
            <a:off x="391793" y="2682364"/>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2" name="Freeform: Shape 1">
            <a:extLst>
              <a:ext uri="{FF2B5EF4-FFF2-40B4-BE49-F238E27FC236}">
                <a16:creationId xmlns:a16="http://schemas.microsoft.com/office/drawing/2014/main" id="{C70F6843-0985-4803-A810-7F14F43CE5FE}"/>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chemeClr val="bg1"/>
              </a:solidFill>
              <a:cs typeface="Segoe UI" pitchFamily="34" charset="0"/>
            </a:endParaRPr>
          </a:p>
        </p:txBody>
      </p:sp>
      <p:sp>
        <p:nvSpPr>
          <p:cNvPr id="3" name="Title 7">
            <a:extLst>
              <a:ext uri="{FF2B5EF4-FFF2-40B4-BE49-F238E27FC236}">
                <a16:creationId xmlns:a16="http://schemas.microsoft.com/office/drawing/2014/main" id="{CCD1583B-8D1B-4945-B0A6-44603EBC4E84}"/>
              </a:ext>
            </a:extLst>
          </p:cNvPr>
          <p:cNvSpPr txBox="1">
            <a:spLocks/>
          </p:cNvSpPr>
          <p:nvPr/>
        </p:nvSpPr>
        <p:spPr>
          <a:xfrm>
            <a:off x="438150" y="485775"/>
            <a:ext cx="2828925" cy="7848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550">
                <a:solidFill>
                  <a:schemeClr val="bg1"/>
                </a:solidFill>
              </a:rPr>
              <a:t>Connector Classification</a:t>
            </a:r>
          </a:p>
        </p:txBody>
      </p:sp>
      <p:sp>
        <p:nvSpPr>
          <p:cNvPr id="4" name="Text Placeholder 2">
            <a:extLst>
              <a:ext uri="{FF2B5EF4-FFF2-40B4-BE49-F238E27FC236}">
                <a16:creationId xmlns:a16="http://schemas.microsoft.com/office/drawing/2014/main" id="{C4359242-ADD1-4E92-B1F0-14CB7DFC486A}"/>
              </a:ext>
            </a:extLst>
          </p:cNvPr>
          <p:cNvSpPr txBox="1">
            <a:spLocks/>
          </p:cNvSpPr>
          <p:nvPr/>
        </p:nvSpPr>
        <p:spPr>
          <a:xfrm>
            <a:off x="43815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a:solidFill>
                  <a:schemeClr val="bg1"/>
                </a:solidFill>
              </a:rPr>
              <a:t>Connectors can be classified across following groups</a:t>
            </a:r>
            <a:br>
              <a:rPr lang="en-US" sz="1500">
                <a:solidFill>
                  <a:schemeClr val="bg1"/>
                </a:solidFill>
              </a:rPr>
            </a:br>
            <a:r>
              <a:rPr lang="en-US" sz="1500">
                <a:solidFill>
                  <a:schemeClr val="bg1"/>
                </a:solidFill>
              </a:rPr>
              <a:t>using DLP policies</a:t>
            </a:r>
          </a:p>
        </p:txBody>
      </p:sp>
      <p:sp>
        <p:nvSpPr>
          <p:cNvPr id="5" name="Diamond 95">
            <a:extLst>
              <a:ext uri="{FF2B5EF4-FFF2-40B4-BE49-F238E27FC236}">
                <a16:creationId xmlns:a16="http://schemas.microsoft.com/office/drawing/2014/main" id="{74D3BFF2-E9AF-4004-A99F-F6C72DADF460}"/>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 name="Diamond 6">
            <a:extLst>
              <a:ext uri="{FF2B5EF4-FFF2-40B4-BE49-F238E27FC236}">
                <a16:creationId xmlns:a16="http://schemas.microsoft.com/office/drawing/2014/main" id="{9EB0DB1D-5791-41BF-AAF5-87B1A294B033}"/>
              </a:ext>
            </a:extLst>
          </p:cNvPr>
          <p:cNvSpPr/>
          <p:nvPr/>
        </p:nvSpPr>
        <p:spPr bwMode="auto">
          <a:xfrm>
            <a:off x="735579" y="2794819"/>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1" name="TextBox 10">
            <a:extLst>
              <a:ext uri="{FF2B5EF4-FFF2-40B4-BE49-F238E27FC236}">
                <a16:creationId xmlns:a16="http://schemas.microsoft.com/office/drawing/2014/main" id="{44BE5E76-8A16-4CE0-A27A-FE12B3EA9F8B}"/>
              </a:ext>
            </a:extLst>
          </p:cNvPr>
          <p:cNvSpPr txBox="1"/>
          <p:nvPr/>
        </p:nvSpPr>
        <p:spPr>
          <a:xfrm>
            <a:off x="5065531" y="650260"/>
            <a:ext cx="3640319" cy="132856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1" name="TextBox 20">
            <a:extLst>
              <a:ext uri="{FF2B5EF4-FFF2-40B4-BE49-F238E27FC236}">
                <a16:creationId xmlns:a16="http://schemas.microsoft.com/office/drawing/2014/main" id="{FDA3D17D-2515-4D34-B110-DF595EDC4CA8}"/>
              </a:ext>
            </a:extLst>
          </p:cNvPr>
          <p:cNvSpPr txBox="1"/>
          <p:nvPr/>
        </p:nvSpPr>
        <p:spPr>
          <a:xfrm>
            <a:off x="3450584" y="2260755"/>
            <a:ext cx="5233144" cy="114390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Non-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6" name="TextBox 25">
            <a:extLst>
              <a:ext uri="{FF2B5EF4-FFF2-40B4-BE49-F238E27FC236}">
                <a16:creationId xmlns:a16="http://schemas.microsoft.com/office/drawing/2014/main" id="{1BDEAA51-C8D9-4887-85D6-225B07FDF7AA}"/>
              </a:ext>
            </a:extLst>
          </p:cNvPr>
          <p:cNvSpPr txBox="1"/>
          <p:nvPr/>
        </p:nvSpPr>
        <p:spPr>
          <a:xfrm>
            <a:off x="1960996" y="3686583"/>
            <a:ext cx="6744854" cy="120802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locked</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ny Power App or Power Automate resource cannot use any connector from </a:t>
            </a:r>
            <a:r>
              <a:rPr lang="en-US">
                <a:gradFill>
                  <a:gsLst>
                    <a:gs pos="2917">
                      <a:schemeClr val="tx1"/>
                    </a:gs>
                    <a:gs pos="30000">
                      <a:schemeClr val="tx1"/>
                    </a:gs>
                  </a:gsLst>
                  <a:lin ang="5400000" scaled="0"/>
                </a:gradFill>
                <a:latin typeface="+mj-lt"/>
                <a:cs typeface="Segoe UI Semilight" panose="020B0402040204020203" pitchFamily="34" charset="0"/>
              </a:rPr>
              <a:t>Blocked</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premium connectors and third-party connectors (standard and premium) can be blocked</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standard connectors and CDS connectors cannot be blocked </a:t>
            </a:r>
          </a:p>
        </p:txBody>
      </p:sp>
      <p:grpSp>
        <p:nvGrpSpPr>
          <p:cNvPr id="40" name="Group 39">
            <a:extLst>
              <a:ext uri="{FF2B5EF4-FFF2-40B4-BE49-F238E27FC236}">
                <a16:creationId xmlns:a16="http://schemas.microsoft.com/office/drawing/2014/main" id="{3A0D3469-2E92-4D87-BDAD-772D7BAC19EB}"/>
              </a:ext>
            </a:extLst>
          </p:cNvPr>
          <p:cNvGrpSpPr/>
          <p:nvPr/>
        </p:nvGrpSpPr>
        <p:grpSpPr>
          <a:xfrm>
            <a:off x="4463653" y="538983"/>
            <a:ext cx="488741" cy="488741"/>
            <a:chOff x="5951538" y="718644"/>
            <a:chExt cx="651654" cy="651654"/>
          </a:xfrm>
          <a:solidFill>
            <a:srgbClr val="243A5E"/>
          </a:solidFill>
        </p:grpSpPr>
        <p:grpSp>
          <p:nvGrpSpPr>
            <p:cNvPr id="10" name="Group 9">
              <a:extLst>
                <a:ext uri="{FF2B5EF4-FFF2-40B4-BE49-F238E27FC236}">
                  <a16:creationId xmlns:a16="http://schemas.microsoft.com/office/drawing/2014/main" id="{3AC914DA-4193-4B7F-995D-BD0E1E650DA0}"/>
                </a:ext>
              </a:extLst>
            </p:cNvPr>
            <p:cNvGrpSpPr/>
            <p:nvPr/>
          </p:nvGrpSpPr>
          <p:grpSpPr>
            <a:xfrm>
              <a:off x="5951538" y="718644"/>
              <a:ext cx="651654" cy="651654"/>
              <a:chOff x="2247511" y="3320384"/>
              <a:chExt cx="596900" cy="596901"/>
            </a:xfrm>
            <a:grpFill/>
          </p:grpSpPr>
          <p:sp>
            <p:nvSpPr>
              <p:cNvPr id="12" name="Diamond 11">
                <a:extLst>
                  <a:ext uri="{FF2B5EF4-FFF2-40B4-BE49-F238E27FC236}">
                    <a16:creationId xmlns:a16="http://schemas.microsoft.com/office/drawing/2014/main" id="{9CE2512A-702D-40E6-BBEC-34CF09124109}"/>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13" name="Diamond 12">
                <a:extLst>
                  <a:ext uri="{FF2B5EF4-FFF2-40B4-BE49-F238E27FC236}">
                    <a16:creationId xmlns:a16="http://schemas.microsoft.com/office/drawing/2014/main" id="{1A21C49F-E236-4CDC-9D1E-3D6650A94E8E}"/>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sp>
          <p:nvSpPr>
            <p:cNvPr id="29" name="Chart_E999" title="Icon of a line graph with an arrow at the end pointing up">
              <a:extLst>
                <a:ext uri="{FF2B5EF4-FFF2-40B4-BE49-F238E27FC236}">
                  <a16:creationId xmlns:a16="http://schemas.microsoft.com/office/drawing/2014/main" id="{BE007719-D087-4F58-938E-AD62D0F99D26}"/>
                </a:ext>
              </a:extLst>
            </p:cNvPr>
            <p:cNvSpPr>
              <a:spLocks noChangeAspect="1" noEditPoints="1"/>
            </p:cNvSpPr>
            <p:nvPr/>
          </p:nvSpPr>
          <p:spPr bwMode="auto">
            <a:xfrm>
              <a:off x="6182506" y="949546"/>
              <a:ext cx="189720" cy="18985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grpFill/>
            <a:ln w="1270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grpSp>
      <p:grpSp>
        <p:nvGrpSpPr>
          <p:cNvPr id="39" name="Group 38">
            <a:extLst>
              <a:ext uri="{FF2B5EF4-FFF2-40B4-BE49-F238E27FC236}">
                <a16:creationId xmlns:a16="http://schemas.microsoft.com/office/drawing/2014/main" id="{56896DCD-6701-4F47-ABC5-8F929440FF98}"/>
              </a:ext>
            </a:extLst>
          </p:cNvPr>
          <p:cNvGrpSpPr/>
          <p:nvPr/>
        </p:nvGrpSpPr>
        <p:grpSpPr>
          <a:xfrm>
            <a:off x="2848706" y="2149478"/>
            <a:ext cx="488741" cy="488741"/>
            <a:chOff x="3798275" y="2865971"/>
            <a:chExt cx="651654" cy="651654"/>
          </a:xfrm>
          <a:solidFill>
            <a:srgbClr val="243A5E"/>
          </a:solidFill>
        </p:grpSpPr>
        <p:grpSp>
          <p:nvGrpSpPr>
            <p:cNvPr id="20" name="Group 19">
              <a:extLst>
                <a:ext uri="{FF2B5EF4-FFF2-40B4-BE49-F238E27FC236}">
                  <a16:creationId xmlns:a16="http://schemas.microsoft.com/office/drawing/2014/main" id="{FA84EDD7-EC41-49AA-82EB-21A6C5378C7D}"/>
                </a:ext>
              </a:extLst>
            </p:cNvPr>
            <p:cNvGrpSpPr/>
            <p:nvPr/>
          </p:nvGrpSpPr>
          <p:grpSpPr>
            <a:xfrm>
              <a:off x="3798275" y="2865971"/>
              <a:ext cx="651654" cy="651654"/>
              <a:chOff x="2247511" y="3320384"/>
              <a:chExt cx="596900" cy="596901"/>
            </a:xfrm>
            <a:grpFill/>
          </p:grpSpPr>
          <p:sp>
            <p:nvSpPr>
              <p:cNvPr id="22" name="Diamond 21">
                <a:extLst>
                  <a:ext uri="{FF2B5EF4-FFF2-40B4-BE49-F238E27FC236}">
                    <a16:creationId xmlns:a16="http://schemas.microsoft.com/office/drawing/2014/main" id="{299DB4F4-37BF-4C6B-A42F-11E6485639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3" name="Diamond 22">
                <a:extLst>
                  <a:ext uri="{FF2B5EF4-FFF2-40B4-BE49-F238E27FC236}">
                    <a16:creationId xmlns:a16="http://schemas.microsoft.com/office/drawing/2014/main" id="{2EF1BB70-04DF-4255-B496-A2F1998E031C}"/>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grpSp>
          <p:nvGrpSpPr>
            <p:cNvPr id="30" name="Graphic 155">
              <a:extLst>
                <a:ext uri="{FF2B5EF4-FFF2-40B4-BE49-F238E27FC236}">
                  <a16:creationId xmlns:a16="http://schemas.microsoft.com/office/drawing/2014/main" id="{FED4AF0E-ED9C-4351-95C0-30170DAEA3AC}"/>
                </a:ext>
              </a:extLst>
            </p:cNvPr>
            <p:cNvGrpSpPr/>
            <p:nvPr/>
          </p:nvGrpSpPr>
          <p:grpSpPr>
            <a:xfrm>
              <a:off x="4016490" y="3079554"/>
              <a:ext cx="218619" cy="221368"/>
              <a:chOff x="5994494" y="3263899"/>
              <a:chExt cx="454532" cy="460247"/>
            </a:xfrm>
            <a:grpFill/>
          </p:grpSpPr>
          <p:sp>
            <p:nvSpPr>
              <p:cNvPr id="31" name="Freeform: Shape 30">
                <a:extLst>
                  <a:ext uri="{FF2B5EF4-FFF2-40B4-BE49-F238E27FC236}">
                    <a16:creationId xmlns:a16="http://schemas.microsoft.com/office/drawing/2014/main" id="{72A49C25-D556-41D0-9BD9-37460851F0CE}"/>
                  </a:ext>
                </a:extLst>
              </p:cNvPr>
              <p:cNvSpPr/>
              <p:nvPr/>
            </p:nvSpPr>
            <p:spPr>
              <a:xfrm>
                <a:off x="5994494" y="3263899"/>
                <a:ext cx="454532" cy="460247"/>
              </a:xfrm>
              <a:custGeom>
                <a:avLst/>
                <a:gdLst>
                  <a:gd name="connsiteX0" fmla="*/ 0 w 454532"/>
                  <a:gd name="connsiteY0" fmla="*/ 0 h 460247"/>
                  <a:gd name="connsiteX1" fmla="*/ 0 w 454532"/>
                  <a:gd name="connsiteY1" fmla="*/ 460248 h 460247"/>
                  <a:gd name="connsiteX2" fmla="*/ 454533 w 454532"/>
                  <a:gd name="connsiteY2" fmla="*/ 460248 h 460247"/>
                </a:gdLst>
                <a:ahLst/>
                <a:cxnLst>
                  <a:cxn ang="0">
                    <a:pos x="connsiteX0" y="connsiteY0"/>
                  </a:cxn>
                  <a:cxn ang="0">
                    <a:pos x="connsiteX1" y="connsiteY1"/>
                  </a:cxn>
                  <a:cxn ang="0">
                    <a:pos x="connsiteX2" y="connsiteY2"/>
                  </a:cxn>
                </a:cxnLst>
                <a:rect l="l" t="t" r="r" b="b"/>
                <a:pathLst>
                  <a:path w="454532" h="460247">
                    <a:moveTo>
                      <a:pt x="0" y="0"/>
                    </a:moveTo>
                    <a:lnTo>
                      <a:pt x="0" y="460248"/>
                    </a:lnTo>
                    <a:lnTo>
                      <a:pt x="454533" y="46024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2" name="Freeform: Shape 31">
                <a:extLst>
                  <a:ext uri="{FF2B5EF4-FFF2-40B4-BE49-F238E27FC236}">
                    <a16:creationId xmlns:a16="http://schemas.microsoft.com/office/drawing/2014/main" id="{DC5858D5-134E-43E4-8F70-482E55FDD1D1}"/>
                  </a:ext>
                </a:extLst>
              </p:cNvPr>
              <p:cNvSpPr/>
              <p:nvPr/>
            </p:nvSpPr>
            <p:spPr>
              <a:xfrm>
                <a:off x="5994494" y="3360291"/>
                <a:ext cx="437769" cy="267462"/>
              </a:xfrm>
              <a:custGeom>
                <a:avLst/>
                <a:gdLst>
                  <a:gd name="connsiteX0" fmla="*/ 437769 w 437769"/>
                  <a:gd name="connsiteY0" fmla="*/ 267462 h 267462"/>
                  <a:gd name="connsiteX1" fmla="*/ 269367 w 437769"/>
                  <a:gd name="connsiteY1" fmla="*/ 118777 h 267462"/>
                  <a:gd name="connsiteX2" fmla="*/ 202025 w 437769"/>
                  <a:gd name="connsiteY2" fmla="*/ 178308 h 267462"/>
                  <a:gd name="connsiteX3" fmla="*/ 0 w 437769"/>
                  <a:gd name="connsiteY3" fmla="*/ 0 h 267462"/>
                </a:gdLst>
                <a:ahLst/>
                <a:cxnLst>
                  <a:cxn ang="0">
                    <a:pos x="connsiteX0" y="connsiteY0"/>
                  </a:cxn>
                  <a:cxn ang="0">
                    <a:pos x="connsiteX1" y="connsiteY1"/>
                  </a:cxn>
                  <a:cxn ang="0">
                    <a:pos x="connsiteX2" y="connsiteY2"/>
                  </a:cxn>
                  <a:cxn ang="0">
                    <a:pos x="connsiteX3" y="connsiteY3"/>
                  </a:cxn>
                </a:cxnLst>
                <a:rect l="l" t="t" r="r" b="b"/>
                <a:pathLst>
                  <a:path w="437769" h="267462">
                    <a:moveTo>
                      <a:pt x="437769" y="267462"/>
                    </a:moveTo>
                    <a:lnTo>
                      <a:pt x="269367" y="118777"/>
                    </a:lnTo>
                    <a:lnTo>
                      <a:pt x="202025" y="178308"/>
                    </a:lnTo>
                    <a:lnTo>
                      <a:pt x="0" y="0"/>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3" name="Freeform: Shape 32">
                <a:extLst>
                  <a:ext uri="{FF2B5EF4-FFF2-40B4-BE49-F238E27FC236}">
                    <a16:creationId xmlns:a16="http://schemas.microsoft.com/office/drawing/2014/main" id="{D233B1F6-A018-4284-90FA-8B967F70C0D7}"/>
                  </a:ext>
                </a:extLst>
              </p:cNvPr>
              <p:cNvSpPr/>
              <p:nvPr/>
            </p:nvSpPr>
            <p:spPr>
              <a:xfrm>
                <a:off x="6314344" y="3523645"/>
                <a:ext cx="117919" cy="104108"/>
              </a:xfrm>
              <a:custGeom>
                <a:avLst/>
                <a:gdLst>
                  <a:gd name="connsiteX0" fmla="*/ 117920 w 117919"/>
                  <a:gd name="connsiteY0" fmla="*/ 0 h 104108"/>
                  <a:gd name="connsiteX1" fmla="*/ 117920 w 117919"/>
                  <a:gd name="connsiteY1" fmla="*/ 104108 h 104108"/>
                  <a:gd name="connsiteX2" fmla="*/ 0 w 117919"/>
                  <a:gd name="connsiteY2" fmla="*/ 104108 h 104108"/>
                </a:gdLst>
                <a:ahLst/>
                <a:cxnLst>
                  <a:cxn ang="0">
                    <a:pos x="connsiteX0" y="connsiteY0"/>
                  </a:cxn>
                  <a:cxn ang="0">
                    <a:pos x="connsiteX1" y="connsiteY1"/>
                  </a:cxn>
                  <a:cxn ang="0">
                    <a:pos x="connsiteX2" y="connsiteY2"/>
                  </a:cxn>
                </a:cxnLst>
                <a:rect l="l" t="t" r="r" b="b"/>
                <a:pathLst>
                  <a:path w="117919" h="104108">
                    <a:moveTo>
                      <a:pt x="117920" y="0"/>
                    </a:moveTo>
                    <a:lnTo>
                      <a:pt x="117920" y="104108"/>
                    </a:lnTo>
                    <a:lnTo>
                      <a:pt x="0" y="10410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grpSp>
      </p:grpSp>
      <p:grpSp>
        <p:nvGrpSpPr>
          <p:cNvPr id="38" name="Group 37">
            <a:extLst>
              <a:ext uri="{FF2B5EF4-FFF2-40B4-BE49-F238E27FC236}">
                <a16:creationId xmlns:a16="http://schemas.microsoft.com/office/drawing/2014/main" id="{9DA6A549-09E7-4A42-B422-9F6775C8DF38}"/>
              </a:ext>
            </a:extLst>
          </p:cNvPr>
          <p:cNvGrpSpPr/>
          <p:nvPr/>
        </p:nvGrpSpPr>
        <p:grpSpPr>
          <a:xfrm>
            <a:off x="1359118" y="3575307"/>
            <a:ext cx="488741" cy="488741"/>
            <a:chOff x="1812158" y="4767076"/>
            <a:chExt cx="651654" cy="651654"/>
          </a:xfrm>
          <a:solidFill>
            <a:srgbClr val="243A5E"/>
          </a:solidFill>
        </p:grpSpPr>
        <p:grpSp>
          <p:nvGrpSpPr>
            <p:cNvPr id="25" name="Group 24">
              <a:extLst>
                <a:ext uri="{FF2B5EF4-FFF2-40B4-BE49-F238E27FC236}">
                  <a16:creationId xmlns:a16="http://schemas.microsoft.com/office/drawing/2014/main" id="{D2F0BD98-6DE6-4ECD-9E21-3107F0949929}"/>
                </a:ext>
              </a:extLst>
            </p:cNvPr>
            <p:cNvGrpSpPr/>
            <p:nvPr/>
          </p:nvGrpSpPr>
          <p:grpSpPr>
            <a:xfrm>
              <a:off x="1812158" y="4767076"/>
              <a:ext cx="651654" cy="651654"/>
              <a:chOff x="2247511" y="3320384"/>
              <a:chExt cx="596900" cy="596901"/>
            </a:xfrm>
            <a:grpFill/>
          </p:grpSpPr>
          <p:sp>
            <p:nvSpPr>
              <p:cNvPr id="27" name="Diamond 26">
                <a:extLst>
                  <a:ext uri="{FF2B5EF4-FFF2-40B4-BE49-F238E27FC236}">
                    <a16:creationId xmlns:a16="http://schemas.microsoft.com/office/drawing/2014/main" id="{07ECF258-EAA2-44B1-B7AE-FB0AFF08E0EB}"/>
                  </a:ext>
                </a:extLst>
              </p:cNvPr>
              <p:cNvSpPr/>
              <p:nvPr/>
            </p:nvSpPr>
            <p:spPr bwMode="auto">
              <a:xfrm rot="16200000">
                <a:off x="2247510" y="3320385"/>
                <a:ext cx="596901" cy="596900"/>
              </a:xfrm>
              <a:prstGeom prst="diamond">
                <a:avLst/>
              </a:prstGeom>
              <a:grp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8" name="Diamond 27">
                <a:extLst>
                  <a:ext uri="{FF2B5EF4-FFF2-40B4-BE49-F238E27FC236}">
                    <a16:creationId xmlns:a16="http://schemas.microsoft.com/office/drawing/2014/main" id="{7E2C5B2A-74B5-41CD-866F-8238486F1EC6}"/>
                  </a:ext>
                </a:extLst>
              </p:cNvPr>
              <p:cNvSpPr/>
              <p:nvPr/>
            </p:nvSpPr>
            <p:spPr bwMode="auto">
              <a:xfrm>
                <a:off x="2280972" y="3353848"/>
                <a:ext cx="529976" cy="529974"/>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pic>
          <p:nvPicPr>
            <p:cNvPr id="37" name="Graphic 36">
              <a:extLst>
                <a:ext uri="{FF2B5EF4-FFF2-40B4-BE49-F238E27FC236}">
                  <a16:creationId xmlns:a16="http://schemas.microsoft.com/office/drawing/2014/main" id="{81CA0836-ED68-4B50-9B1D-D438263A103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14235" y="4969153"/>
              <a:ext cx="247500" cy="247500"/>
            </a:xfrm>
            <a:prstGeom prst="rect">
              <a:avLst/>
            </a:prstGeom>
          </p:spPr>
        </p:pic>
      </p:grpSp>
    </p:spTree>
    <p:extLst>
      <p:ext uri="{BB962C8B-B14F-4D97-AF65-F5344CB8AC3E}">
        <p14:creationId xmlns:p14="http://schemas.microsoft.com/office/powerpoint/2010/main" val="280351705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Shape 79">
            <a:extLst>
              <a:ext uri="{FF2B5EF4-FFF2-40B4-BE49-F238E27FC236}">
                <a16:creationId xmlns:a16="http://schemas.microsoft.com/office/drawing/2014/main" id="{B6A554F7-B6C4-4793-82B2-677FFD15247D}"/>
              </a:ext>
            </a:extLst>
          </p:cNvPr>
          <p:cNvSpPr>
            <a:spLocks/>
          </p:cNvSpPr>
          <p:nvPr/>
        </p:nvSpPr>
        <p:spPr bwMode="auto">
          <a:xfrm>
            <a:off x="0" y="3510846"/>
            <a:ext cx="5738084" cy="1629160"/>
          </a:xfrm>
          <a:custGeom>
            <a:avLst/>
            <a:gdLst>
              <a:gd name="connsiteX0" fmla="*/ 1604638 w 7650778"/>
              <a:gd name="connsiteY0" fmla="*/ 0 h 2172213"/>
              <a:gd name="connsiteX1" fmla="*/ 7650778 w 7650778"/>
              <a:gd name="connsiteY1" fmla="*/ 0 h 2172213"/>
              <a:gd name="connsiteX2" fmla="*/ 5478566 w 7650778"/>
              <a:gd name="connsiteY2" fmla="*/ 2172213 h 2172213"/>
              <a:gd name="connsiteX3" fmla="*/ 0 w 7650778"/>
              <a:gd name="connsiteY3" fmla="*/ 2172213 h 2172213"/>
              <a:gd name="connsiteX4" fmla="*/ 0 w 7650778"/>
              <a:gd name="connsiteY4" fmla="*/ 1604638 h 217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0778" h="2172213">
                <a:moveTo>
                  <a:pt x="1604638" y="0"/>
                </a:moveTo>
                <a:lnTo>
                  <a:pt x="7650778" y="0"/>
                </a:lnTo>
                <a:lnTo>
                  <a:pt x="5478566" y="2172213"/>
                </a:lnTo>
                <a:lnTo>
                  <a:pt x="0" y="2172213"/>
                </a:lnTo>
                <a:lnTo>
                  <a:pt x="0" y="16046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8" name="Freeform: Shape 77">
            <a:extLst>
              <a:ext uri="{FF2B5EF4-FFF2-40B4-BE49-F238E27FC236}">
                <a16:creationId xmlns:a16="http://schemas.microsoft.com/office/drawing/2014/main" id="{5C15DDC0-8438-402A-9F55-FC852E5A11AD}"/>
              </a:ext>
            </a:extLst>
          </p:cNvPr>
          <p:cNvSpPr>
            <a:spLocks/>
          </p:cNvSpPr>
          <p:nvPr/>
        </p:nvSpPr>
        <p:spPr bwMode="auto">
          <a:xfrm>
            <a:off x="1329743" y="1755422"/>
            <a:ext cx="6163764" cy="1629159"/>
          </a:xfrm>
          <a:custGeom>
            <a:avLst/>
            <a:gdLst>
              <a:gd name="connsiteX0" fmla="*/ 2172212 w 8218352"/>
              <a:gd name="connsiteY0" fmla="*/ 0 h 2172212"/>
              <a:gd name="connsiteX1" fmla="*/ 8218352 w 8218352"/>
              <a:gd name="connsiteY1" fmla="*/ 0 h 2172212"/>
              <a:gd name="connsiteX2" fmla="*/ 6046140 w 8218352"/>
              <a:gd name="connsiteY2" fmla="*/ 2172212 h 2172212"/>
              <a:gd name="connsiteX3" fmla="*/ 0 w 8218352"/>
              <a:gd name="connsiteY3" fmla="*/ 2172212 h 2172212"/>
            </a:gdLst>
            <a:ahLst/>
            <a:cxnLst>
              <a:cxn ang="0">
                <a:pos x="connsiteX0" y="connsiteY0"/>
              </a:cxn>
              <a:cxn ang="0">
                <a:pos x="connsiteX1" y="connsiteY1"/>
              </a:cxn>
              <a:cxn ang="0">
                <a:pos x="connsiteX2" y="connsiteY2"/>
              </a:cxn>
              <a:cxn ang="0">
                <a:pos x="connsiteX3" y="connsiteY3"/>
              </a:cxn>
            </a:cxnLst>
            <a:rect l="l" t="t" r="r" b="b"/>
            <a:pathLst>
              <a:path w="8218352" h="2172212">
                <a:moveTo>
                  <a:pt x="2172212" y="0"/>
                </a:moveTo>
                <a:lnTo>
                  <a:pt x="8218352" y="0"/>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6" name="Freeform: Shape 75">
            <a:extLst>
              <a:ext uri="{FF2B5EF4-FFF2-40B4-BE49-F238E27FC236}">
                <a16:creationId xmlns:a16="http://schemas.microsoft.com/office/drawing/2014/main" id="{4DC8D016-13EB-42A5-B0EB-9EC6519096E7}"/>
              </a:ext>
            </a:extLst>
          </p:cNvPr>
          <p:cNvSpPr>
            <a:spLocks/>
          </p:cNvSpPr>
          <p:nvPr/>
        </p:nvSpPr>
        <p:spPr bwMode="auto">
          <a:xfrm>
            <a:off x="3085166" y="0"/>
            <a:ext cx="6057961" cy="1629159"/>
          </a:xfrm>
          <a:custGeom>
            <a:avLst/>
            <a:gdLst>
              <a:gd name="connsiteX0" fmla="*/ 2172212 w 8077281"/>
              <a:gd name="connsiteY0" fmla="*/ 0 h 2172212"/>
              <a:gd name="connsiteX1" fmla="*/ 7571241 w 8077281"/>
              <a:gd name="connsiteY1" fmla="*/ 0 h 2172212"/>
              <a:gd name="connsiteX2" fmla="*/ 7571242 w 8077281"/>
              <a:gd name="connsiteY2" fmla="*/ 0 h 2172212"/>
              <a:gd name="connsiteX3" fmla="*/ 8077281 w 8077281"/>
              <a:gd name="connsiteY3" fmla="*/ 0 h 2172212"/>
              <a:gd name="connsiteX4" fmla="*/ 8077281 w 8077281"/>
              <a:gd name="connsiteY4" fmla="*/ 141071 h 2172212"/>
              <a:gd name="connsiteX5" fmla="*/ 6046140 w 8077281"/>
              <a:gd name="connsiteY5" fmla="*/ 2172212 h 2172212"/>
              <a:gd name="connsiteX6" fmla="*/ 0 w 8077281"/>
              <a:gd name="connsiteY6" fmla="*/ 2172212 h 217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7281" h="2172212">
                <a:moveTo>
                  <a:pt x="2172212" y="0"/>
                </a:moveTo>
                <a:lnTo>
                  <a:pt x="7571241" y="0"/>
                </a:lnTo>
                <a:lnTo>
                  <a:pt x="7571242" y="0"/>
                </a:lnTo>
                <a:lnTo>
                  <a:pt x="8077281" y="0"/>
                </a:lnTo>
                <a:lnTo>
                  <a:pt x="8077281" y="141071"/>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06" name="Freeform: Shape 105">
            <a:extLst>
              <a:ext uri="{FF2B5EF4-FFF2-40B4-BE49-F238E27FC236}">
                <a16:creationId xmlns:a16="http://schemas.microsoft.com/office/drawing/2014/main" id="{83741B4B-752A-42CF-B4BF-973E1F2CD11E}"/>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99" name="Freeform: Shape 98">
            <a:extLst>
              <a:ext uri="{FF2B5EF4-FFF2-40B4-BE49-F238E27FC236}">
                <a16:creationId xmlns:a16="http://schemas.microsoft.com/office/drawing/2014/main" id="{2D3CF993-D1B3-409E-93C5-60FD6D485760}"/>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chemeClr val="bg1"/>
              </a:solidFill>
              <a:cs typeface="Segoe UI" pitchFamily="34" charset="0"/>
            </a:endParaRPr>
          </a:p>
        </p:txBody>
      </p:sp>
      <p:sp>
        <p:nvSpPr>
          <p:cNvPr id="55" name="Title 7">
            <a:extLst>
              <a:ext uri="{FF2B5EF4-FFF2-40B4-BE49-F238E27FC236}">
                <a16:creationId xmlns:a16="http://schemas.microsoft.com/office/drawing/2014/main" id="{C888FA4B-3B70-407D-BD3F-ACE28E38282A}"/>
              </a:ext>
            </a:extLst>
          </p:cNvPr>
          <p:cNvSpPr txBox="1">
            <a:spLocks/>
          </p:cNvSpPr>
          <p:nvPr/>
        </p:nvSpPr>
        <p:spPr>
          <a:xfrm>
            <a:off x="266066" y="398762"/>
            <a:ext cx="2828925"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r"/>
            <a:r>
              <a:rPr lang="en-US" sz="2400">
                <a:solidFill>
                  <a:schemeClr val="bg1"/>
                </a:solidFill>
              </a:rPr>
              <a:t>Establishing a DLP strategy</a:t>
            </a:r>
          </a:p>
        </p:txBody>
      </p:sp>
      <p:sp>
        <p:nvSpPr>
          <p:cNvPr id="9" name="Rectangle 8">
            <a:extLst>
              <a:ext uri="{FF2B5EF4-FFF2-40B4-BE49-F238E27FC236}">
                <a16:creationId xmlns:a16="http://schemas.microsoft.com/office/drawing/2014/main" id="{44759EC3-2F56-48CB-9D61-CBE6A30E36D8}"/>
              </a:ext>
            </a:extLst>
          </p:cNvPr>
          <p:cNvSpPr/>
          <p:nvPr/>
        </p:nvSpPr>
        <p:spPr>
          <a:xfrm>
            <a:off x="6750515" y="664539"/>
            <a:ext cx="1103187" cy="323165"/>
          </a:xfrm>
          <a:prstGeom prst="rect">
            <a:avLst/>
          </a:prstGeom>
        </p:spPr>
        <p:txBody>
          <a:bodyPr wrap="none">
            <a:spAutoFit/>
          </a:bodyPr>
          <a:lstStyle/>
          <a:p>
            <a:r>
              <a:rPr lang="en-US" sz="1500">
                <a:solidFill>
                  <a:schemeClr val="accent1"/>
                </a:solidFill>
                <a:latin typeface="+mj-lt"/>
              </a:rPr>
              <a:t> BUSINESS</a:t>
            </a:r>
            <a:endParaRPr lang="en-IN" sz="1350">
              <a:solidFill>
                <a:schemeClr val="accent1"/>
              </a:solidFill>
              <a:latin typeface="+mj-lt"/>
            </a:endParaRPr>
          </a:p>
        </p:txBody>
      </p:sp>
      <p:sp>
        <p:nvSpPr>
          <p:cNvPr id="11" name="Rectangle 10">
            <a:extLst>
              <a:ext uri="{FF2B5EF4-FFF2-40B4-BE49-F238E27FC236}">
                <a16:creationId xmlns:a16="http://schemas.microsoft.com/office/drawing/2014/main" id="{EAA0A5EC-CC19-47D7-920D-2C927252881F}"/>
              </a:ext>
            </a:extLst>
          </p:cNvPr>
          <p:cNvSpPr/>
          <p:nvPr/>
        </p:nvSpPr>
        <p:spPr>
          <a:xfrm>
            <a:off x="3296321" y="4175385"/>
            <a:ext cx="1009315" cy="323165"/>
          </a:xfrm>
          <a:prstGeom prst="rect">
            <a:avLst/>
          </a:prstGeom>
        </p:spPr>
        <p:txBody>
          <a:bodyPr wrap="none">
            <a:spAutoFit/>
          </a:bodyPr>
          <a:lstStyle/>
          <a:p>
            <a:r>
              <a:rPr lang="en-US" sz="1500">
                <a:solidFill>
                  <a:schemeClr val="accent1"/>
                </a:solidFill>
                <a:latin typeface="+mj-lt"/>
              </a:rPr>
              <a:t>BLOCKED</a:t>
            </a:r>
            <a:endParaRPr lang="en-IN" sz="1500">
              <a:solidFill>
                <a:schemeClr val="accent1"/>
              </a:solidFill>
              <a:latin typeface="+mj-lt"/>
            </a:endParaRPr>
          </a:p>
        </p:txBody>
      </p:sp>
      <p:grpSp>
        <p:nvGrpSpPr>
          <p:cNvPr id="14" name="Group 13">
            <a:extLst>
              <a:ext uri="{FF2B5EF4-FFF2-40B4-BE49-F238E27FC236}">
                <a16:creationId xmlns:a16="http://schemas.microsoft.com/office/drawing/2014/main" id="{9105A48F-CA78-46FB-9979-DD867AEDD4F7}"/>
              </a:ext>
            </a:extLst>
          </p:cNvPr>
          <p:cNvGrpSpPr/>
          <p:nvPr/>
        </p:nvGrpSpPr>
        <p:grpSpPr>
          <a:xfrm>
            <a:off x="4574704" y="425063"/>
            <a:ext cx="445766" cy="779033"/>
            <a:chOff x="7555150" y="426792"/>
            <a:chExt cx="594354" cy="1038710"/>
          </a:xfrm>
        </p:grpSpPr>
        <p:grpSp>
          <p:nvGrpSpPr>
            <p:cNvPr id="131" name="Group 130">
              <a:extLst>
                <a:ext uri="{FF2B5EF4-FFF2-40B4-BE49-F238E27FC236}">
                  <a16:creationId xmlns:a16="http://schemas.microsoft.com/office/drawing/2014/main" id="{F894F99C-4216-4DC5-8CE3-045E0B93A9F5}"/>
                </a:ext>
              </a:extLst>
            </p:cNvPr>
            <p:cNvGrpSpPr/>
            <p:nvPr/>
          </p:nvGrpSpPr>
          <p:grpSpPr>
            <a:xfrm>
              <a:off x="7584718" y="1058877"/>
              <a:ext cx="535217" cy="406625"/>
              <a:chOff x="-1146792" y="678443"/>
              <a:chExt cx="1017587" cy="773113"/>
            </a:xfrm>
            <a:solidFill>
              <a:schemeClr val="tx1"/>
            </a:solidFill>
          </p:grpSpPr>
          <p:sp>
            <p:nvSpPr>
              <p:cNvPr id="132" name="Freeform 5">
                <a:extLst>
                  <a:ext uri="{FF2B5EF4-FFF2-40B4-BE49-F238E27FC236}">
                    <a16:creationId xmlns:a16="http://schemas.microsoft.com/office/drawing/2014/main" id="{2B630B30-DAE3-4143-9B71-9E4DD228C840}"/>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133" name="Freeform 6">
                <a:extLst>
                  <a:ext uri="{FF2B5EF4-FFF2-40B4-BE49-F238E27FC236}">
                    <a16:creationId xmlns:a16="http://schemas.microsoft.com/office/drawing/2014/main" id="{FBEC7ABC-5D2A-4F1A-A9DE-F310073032FC}"/>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13" name="Group 12">
              <a:extLst>
                <a:ext uri="{FF2B5EF4-FFF2-40B4-BE49-F238E27FC236}">
                  <a16:creationId xmlns:a16="http://schemas.microsoft.com/office/drawing/2014/main" id="{20C10B0B-6A6B-4473-A2BD-8660F35CA2D1}"/>
                </a:ext>
              </a:extLst>
            </p:cNvPr>
            <p:cNvGrpSpPr/>
            <p:nvPr/>
          </p:nvGrpSpPr>
          <p:grpSpPr>
            <a:xfrm>
              <a:off x="7555150" y="426792"/>
              <a:ext cx="594354" cy="457374"/>
              <a:chOff x="7052411" y="721229"/>
              <a:chExt cx="594354" cy="457374"/>
            </a:xfrm>
          </p:grpSpPr>
          <p:sp>
            <p:nvSpPr>
              <p:cNvPr id="134" name="Freeform 5">
                <a:extLst>
                  <a:ext uri="{FF2B5EF4-FFF2-40B4-BE49-F238E27FC236}">
                    <a16:creationId xmlns:a16="http://schemas.microsoft.com/office/drawing/2014/main" id="{181956F0-144C-491A-8885-9333E9171EAF}"/>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5" name="Freeform 6">
                <a:extLst>
                  <a:ext uri="{FF2B5EF4-FFF2-40B4-BE49-F238E27FC236}">
                    <a16:creationId xmlns:a16="http://schemas.microsoft.com/office/drawing/2014/main" id="{D1767C8A-5635-4651-BAD0-717D857FF775}"/>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6" name="Freeform 7">
                <a:extLst>
                  <a:ext uri="{FF2B5EF4-FFF2-40B4-BE49-F238E27FC236}">
                    <a16:creationId xmlns:a16="http://schemas.microsoft.com/office/drawing/2014/main" id="{F571F1CA-BF75-4C1A-A384-17D7B14736F3}"/>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7" name="Freeform 8">
                <a:extLst>
                  <a:ext uri="{FF2B5EF4-FFF2-40B4-BE49-F238E27FC236}">
                    <a16:creationId xmlns:a16="http://schemas.microsoft.com/office/drawing/2014/main" id="{F22540B4-CA54-456C-8C21-76545A95EB43}"/>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8" name="Freeform 9">
                <a:extLst>
                  <a:ext uri="{FF2B5EF4-FFF2-40B4-BE49-F238E27FC236}">
                    <a16:creationId xmlns:a16="http://schemas.microsoft.com/office/drawing/2014/main" id="{66039D1E-A241-445D-A290-F6D553C6C9FF}"/>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grpSp>
        <p:nvGrpSpPr>
          <p:cNvPr id="244" name="Group 243">
            <a:extLst>
              <a:ext uri="{FF2B5EF4-FFF2-40B4-BE49-F238E27FC236}">
                <a16:creationId xmlns:a16="http://schemas.microsoft.com/office/drawing/2014/main" id="{BB56D48F-86A2-4AA2-9488-9482D694F210}"/>
              </a:ext>
            </a:extLst>
          </p:cNvPr>
          <p:cNvGrpSpPr/>
          <p:nvPr/>
        </p:nvGrpSpPr>
        <p:grpSpPr>
          <a:xfrm>
            <a:off x="2828577" y="2180485"/>
            <a:ext cx="445766" cy="779033"/>
            <a:chOff x="7555150" y="426792"/>
            <a:chExt cx="594354" cy="1038710"/>
          </a:xfrm>
        </p:grpSpPr>
        <p:grpSp>
          <p:nvGrpSpPr>
            <p:cNvPr id="245" name="Group 244">
              <a:extLst>
                <a:ext uri="{FF2B5EF4-FFF2-40B4-BE49-F238E27FC236}">
                  <a16:creationId xmlns:a16="http://schemas.microsoft.com/office/drawing/2014/main" id="{33909399-0E76-442E-A6CC-5B71685A4545}"/>
                </a:ext>
              </a:extLst>
            </p:cNvPr>
            <p:cNvGrpSpPr/>
            <p:nvPr/>
          </p:nvGrpSpPr>
          <p:grpSpPr>
            <a:xfrm>
              <a:off x="7584718" y="1058877"/>
              <a:ext cx="535217" cy="406625"/>
              <a:chOff x="-1146792" y="678443"/>
              <a:chExt cx="1017587" cy="773113"/>
            </a:xfrm>
            <a:solidFill>
              <a:schemeClr val="tx1"/>
            </a:solidFill>
          </p:grpSpPr>
          <p:sp>
            <p:nvSpPr>
              <p:cNvPr id="252" name="Freeform 5">
                <a:extLst>
                  <a:ext uri="{FF2B5EF4-FFF2-40B4-BE49-F238E27FC236}">
                    <a16:creationId xmlns:a16="http://schemas.microsoft.com/office/drawing/2014/main" id="{DF6D19EA-B794-42DC-B7C1-FDEA1D3879CA}"/>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253" name="Freeform 6">
                <a:extLst>
                  <a:ext uri="{FF2B5EF4-FFF2-40B4-BE49-F238E27FC236}">
                    <a16:creationId xmlns:a16="http://schemas.microsoft.com/office/drawing/2014/main" id="{26F9AFF9-4C65-4788-8E27-AAD92B6DDD1F}"/>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246" name="Group 245">
              <a:extLst>
                <a:ext uri="{FF2B5EF4-FFF2-40B4-BE49-F238E27FC236}">
                  <a16:creationId xmlns:a16="http://schemas.microsoft.com/office/drawing/2014/main" id="{2A518D4C-153A-4DC0-A23F-B216416519EB}"/>
                </a:ext>
              </a:extLst>
            </p:cNvPr>
            <p:cNvGrpSpPr/>
            <p:nvPr/>
          </p:nvGrpSpPr>
          <p:grpSpPr>
            <a:xfrm>
              <a:off x="7555150" y="426792"/>
              <a:ext cx="594354" cy="457374"/>
              <a:chOff x="7052411" y="721229"/>
              <a:chExt cx="594354" cy="457374"/>
            </a:xfrm>
          </p:grpSpPr>
          <p:sp>
            <p:nvSpPr>
              <p:cNvPr id="247" name="Freeform 5">
                <a:extLst>
                  <a:ext uri="{FF2B5EF4-FFF2-40B4-BE49-F238E27FC236}">
                    <a16:creationId xmlns:a16="http://schemas.microsoft.com/office/drawing/2014/main" id="{8E5E68A4-D29E-4735-B1FD-1936389B1DFA}"/>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8" name="Freeform 6">
                <a:extLst>
                  <a:ext uri="{FF2B5EF4-FFF2-40B4-BE49-F238E27FC236}">
                    <a16:creationId xmlns:a16="http://schemas.microsoft.com/office/drawing/2014/main" id="{AFFA9511-EAAB-4447-88EE-EBBC3FD7FD8B}"/>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9" name="Freeform 7">
                <a:extLst>
                  <a:ext uri="{FF2B5EF4-FFF2-40B4-BE49-F238E27FC236}">
                    <a16:creationId xmlns:a16="http://schemas.microsoft.com/office/drawing/2014/main" id="{7B23362C-E4BD-4A17-95CC-15A0504FBC8D}"/>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0" name="Freeform 8">
                <a:extLst>
                  <a:ext uri="{FF2B5EF4-FFF2-40B4-BE49-F238E27FC236}">
                    <a16:creationId xmlns:a16="http://schemas.microsoft.com/office/drawing/2014/main" id="{40C3C731-E8DA-4D85-9BEE-B710AA9BC9B9}"/>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1" name="Freeform 9">
                <a:extLst>
                  <a:ext uri="{FF2B5EF4-FFF2-40B4-BE49-F238E27FC236}">
                    <a16:creationId xmlns:a16="http://schemas.microsoft.com/office/drawing/2014/main" id="{3C405CF8-8496-4E9C-842F-9EF117C5486D}"/>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sp>
        <p:nvSpPr>
          <p:cNvPr id="270" name="Arc 269">
            <a:extLst>
              <a:ext uri="{FF2B5EF4-FFF2-40B4-BE49-F238E27FC236}">
                <a16:creationId xmlns:a16="http://schemas.microsoft.com/office/drawing/2014/main" id="{AC9350F4-B7A0-4C1C-A9B6-063FC69898C1}"/>
              </a:ext>
            </a:extLst>
          </p:cNvPr>
          <p:cNvSpPr/>
          <p:nvPr/>
        </p:nvSpPr>
        <p:spPr bwMode="auto">
          <a:xfrm flipH="1">
            <a:off x="5309403" y="58540"/>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56" name="Arc 255">
            <a:extLst>
              <a:ext uri="{FF2B5EF4-FFF2-40B4-BE49-F238E27FC236}">
                <a16:creationId xmlns:a16="http://schemas.microsoft.com/office/drawing/2014/main" id="{60B5E42E-44EA-4BFB-B56D-DA6C99FF1ECB}"/>
              </a:ext>
            </a:extLst>
          </p:cNvPr>
          <p:cNvSpPr/>
          <p:nvPr/>
        </p:nvSpPr>
        <p:spPr bwMode="auto">
          <a:xfrm>
            <a:off x="3538660" y="1830431"/>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pic>
        <p:nvPicPr>
          <p:cNvPr id="113" name="Picture 112">
            <a:extLst>
              <a:ext uri="{FF2B5EF4-FFF2-40B4-BE49-F238E27FC236}">
                <a16:creationId xmlns:a16="http://schemas.microsoft.com/office/drawing/2014/main" id="{532D8183-DE00-4014-8269-E0277D7000A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80" t="3119" r="6682" b="4739"/>
          <a:stretch/>
        </p:blipFill>
        <p:spPr>
          <a:xfrm>
            <a:off x="4164211" y="2692286"/>
            <a:ext cx="232514" cy="226389"/>
          </a:xfrm>
          <a:prstGeom prst="rect">
            <a:avLst/>
          </a:prstGeom>
        </p:spPr>
      </p:pic>
      <p:pic>
        <p:nvPicPr>
          <p:cNvPr id="115" name="Picture 114">
            <a:extLst>
              <a:ext uri="{FF2B5EF4-FFF2-40B4-BE49-F238E27FC236}">
                <a16:creationId xmlns:a16="http://schemas.microsoft.com/office/drawing/2014/main" id="{6604EAEC-CB2A-498C-9E85-F311CE681B5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011" t="13590" r="68123" b="57159"/>
          <a:stretch/>
        </p:blipFill>
        <p:spPr>
          <a:xfrm>
            <a:off x="4164211" y="2181260"/>
            <a:ext cx="232514" cy="226389"/>
          </a:xfrm>
          <a:prstGeom prst="rect">
            <a:avLst/>
          </a:prstGeom>
        </p:spPr>
      </p:pic>
      <p:pic>
        <p:nvPicPr>
          <p:cNvPr id="119" name="Picture 118">
            <a:extLst>
              <a:ext uri="{FF2B5EF4-FFF2-40B4-BE49-F238E27FC236}">
                <a16:creationId xmlns:a16="http://schemas.microsoft.com/office/drawing/2014/main" id="{0E6AEB8B-EB6A-45C6-A365-BB3A8155282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386" t="2712" r="8162" b="6505"/>
          <a:stretch/>
        </p:blipFill>
        <p:spPr>
          <a:xfrm>
            <a:off x="4164211" y="2947800"/>
            <a:ext cx="232514" cy="226389"/>
          </a:xfrm>
          <a:prstGeom prst="rect">
            <a:avLst/>
          </a:prstGeom>
        </p:spPr>
      </p:pic>
      <p:pic>
        <p:nvPicPr>
          <p:cNvPr id="279" name="Picture 278">
            <a:extLst>
              <a:ext uri="{FF2B5EF4-FFF2-40B4-BE49-F238E27FC236}">
                <a16:creationId xmlns:a16="http://schemas.microsoft.com/office/drawing/2014/main" id="{2CC0A233-03A3-4821-B316-ABA63398868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8700" t="70450" r="31883" b="-2"/>
          <a:stretch/>
        </p:blipFill>
        <p:spPr>
          <a:xfrm>
            <a:off x="4164211" y="2436773"/>
            <a:ext cx="232514" cy="226389"/>
          </a:xfrm>
          <a:prstGeom prst="rect">
            <a:avLst/>
          </a:prstGeom>
        </p:spPr>
      </p:pic>
      <p:pic>
        <p:nvPicPr>
          <p:cNvPr id="120" name="Picture 119">
            <a:extLst>
              <a:ext uri="{FF2B5EF4-FFF2-40B4-BE49-F238E27FC236}">
                <a16:creationId xmlns:a16="http://schemas.microsoft.com/office/drawing/2014/main" id="{12583856-66CD-43D8-B0DF-EA078C3CFE5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8439" t="3979" r="2322" b="4989"/>
          <a:stretch/>
        </p:blipFill>
        <p:spPr>
          <a:xfrm>
            <a:off x="4428997" y="2564529"/>
            <a:ext cx="232514" cy="226389"/>
          </a:xfrm>
          <a:prstGeom prst="rect">
            <a:avLst/>
          </a:prstGeom>
        </p:spPr>
      </p:pic>
      <p:pic>
        <p:nvPicPr>
          <p:cNvPr id="277" name="Picture 276">
            <a:extLst>
              <a:ext uri="{FF2B5EF4-FFF2-40B4-BE49-F238E27FC236}">
                <a16:creationId xmlns:a16="http://schemas.microsoft.com/office/drawing/2014/main" id="{B19CEE22-990B-44CA-AB85-9F2F4297673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4751" t="32918" r="35383" b="37385"/>
          <a:stretch/>
        </p:blipFill>
        <p:spPr>
          <a:xfrm>
            <a:off x="4428997" y="2053503"/>
            <a:ext cx="232514" cy="226389"/>
          </a:xfrm>
          <a:prstGeom prst="rect">
            <a:avLst/>
          </a:prstGeom>
        </p:spPr>
      </p:pic>
      <p:pic>
        <p:nvPicPr>
          <p:cNvPr id="281" name="Picture 280">
            <a:extLst>
              <a:ext uri="{FF2B5EF4-FFF2-40B4-BE49-F238E27FC236}">
                <a16:creationId xmlns:a16="http://schemas.microsoft.com/office/drawing/2014/main" id="{787DAAB2-47EB-460A-838E-3C81CA8A0C4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4894" r="6956" b="8350"/>
          <a:stretch/>
        </p:blipFill>
        <p:spPr>
          <a:xfrm>
            <a:off x="4428997" y="2820043"/>
            <a:ext cx="232514" cy="226389"/>
          </a:xfrm>
          <a:prstGeom prst="rect">
            <a:avLst/>
          </a:prstGeom>
        </p:spPr>
      </p:pic>
      <p:pic>
        <p:nvPicPr>
          <p:cNvPr id="282" name="Picture 281">
            <a:extLst>
              <a:ext uri="{FF2B5EF4-FFF2-40B4-BE49-F238E27FC236}">
                <a16:creationId xmlns:a16="http://schemas.microsoft.com/office/drawing/2014/main" id="{E2A7B154-79D6-4356-8C7B-DF2DB72A5F7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8368" t="7326" r="5296" b="5258"/>
          <a:stretch/>
        </p:blipFill>
        <p:spPr>
          <a:xfrm>
            <a:off x="4428997" y="2309016"/>
            <a:ext cx="232514" cy="226389"/>
          </a:xfrm>
          <a:prstGeom prst="rect">
            <a:avLst/>
          </a:prstGeom>
        </p:spPr>
      </p:pic>
      <p:pic>
        <p:nvPicPr>
          <p:cNvPr id="83" name="Picture 82">
            <a:extLst>
              <a:ext uri="{FF2B5EF4-FFF2-40B4-BE49-F238E27FC236}">
                <a16:creationId xmlns:a16="http://schemas.microsoft.com/office/drawing/2014/main" id="{63CC2AF0-874C-41A0-B643-E5197DB4094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3845" t="7392" r="4862" b="6352"/>
          <a:stretch/>
        </p:blipFill>
        <p:spPr>
          <a:xfrm>
            <a:off x="3894948" y="2053503"/>
            <a:ext cx="232514" cy="226389"/>
          </a:xfrm>
          <a:prstGeom prst="rect">
            <a:avLst/>
          </a:prstGeom>
        </p:spPr>
      </p:pic>
      <p:pic>
        <p:nvPicPr>
          <p:cNvPr id="118" name="Picture 117">
            <a:extLst>
              <a:ext uri="{FF2B5EF4-FFF2-40B4-BE49-F238E27FC236}">
                <a16:creationId xmlns:a16="http://schemas.microsoft.com/office/drawing/2014/main" id="{9952BFC6-02E1-4BF0-AC28-1B8C6AAFB282}"/>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9264" t="5022" r="10700" b="7811"/>
          <a:stretch/>
        </p:blipFill>
        <p:spPr>
          <a:xfrm>
            <a:off x="3894948" y="2820043"/>
            <a:ext cx="232514" cy="226389"/>
          </a:xfrm>
          <a:prstGeom prst="rect">
            <a:avLst/>
          </a:prstGeom>
        </p:spPr>
      </p:pic>
      <p:pic>
        <p:nvPicPr>
          <p:cNvPr id="278" name="Picture 277">
            <a:extLst>
              <a:ext uri="{FF2B5EF4-FFF2-40B4-BE49-F238E27FC236}">
                <a16:creationId xmlns:a16="http://schemas.microsoft.com/office/drawing/2014/main" id="{7385529C-1710-4780-8C56-8DA0095066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50134" r="69983" b="20058"/>
          <a:stretch/>
        </p:blipFill>
        <p:spPr>
          <a:xfrm>
            <a:off x="3894948" y="2309016"/>
            <a:ext cx="232514" cy="226389"/>
          </a:xfrm>
          <a:prstGeom prst="rect">
            <a:avLst/>
          </a:prstGeom>
        </p:spPr>
      </p:pic>
      <p:pic>
        <p:nvPicPr>
          <p:cNvPr id="283" name="Picture 282">
            <a:extLst>
              <a:ext uri="{FF2B5EF4-FFF2-40B4-BE49-F238E27FC236}">
                <a16:creationId xmlns:a16="http://schemas.microsoft.com/office/drawing/2014/main" id="{16E84213-0C37-448F-A1C4-10A2AC832B2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7407" t="8490" r="4129" b="7065"/>
          <a:stretch/>
        </p:blipFill>
        <p:spPr>
          <a:xfrm>
            <a:off x="3894948" y="2564529"/>
            <a:ext cx="232514" cy="226389"/>
          </a:xfrm>
          <a:prstGeom prst="rect">
            <a:avLst/>
          </a:prstGeom>
        </p:spPr>
      </p:pic>
      <p:grpSp>
        <p:nvGrpSpPr>
          <p:cNvPr id="23" name="Group 22">
            <a:extLst>
              <a:ext uri="{FF2B5EF4-FFF2-40B4-BE49-F238E27FC236}">
                <a16:creationId xmlns:a16="http://schemas.microsoft.com/office/drawing/2014/main" id="{2DC8F07B-DAD7-40DD-95DE-805B91CC9714}"/>
              </a:ext>
            </a:extLst>
          </p:cNvPr>
          <p:cNvGrpSpPr/>
          <p:nvPr/>
        </p:nvGrpSpPr>
        <p:grpSpPr>
          <a:xfrm>
            <a:off x="1784109" y="3584669"/>
            <a:ext cx="1479142" cy="1479142"/>
            <a:chOff x="3639274" y="4779558"/>
            <a:chExt cx="1972189" cy="1972189"/>
          </a:xfrm>
        </p:grpSpPr>
        <p:sp>
          <p:nvSpPr>
            <p:cNvPr id="257" name="Oval 256">
              <a:extLst>
                <a:ext uri="{FF2B5EF4-FFF2-40B4-BE49-F238E27FC236}">
                  <a16:creationId xmlns:a16="http://schemas.microsoft.com/office/drawing/2014/main" id="{810B6E5A-D2FC-4B3F-8637-0B803F26B0B1}"/>
                </a:ext>
              </a:extLst>
            </p:cNvPr>
            <p:cNvSpPr/>
            <p:nvPr/>
          </p:nvSpPr>
          <p:spPr bwMode="auto">
            <a:xfrm>
              <a:off x="3639274" y="4779558"/>
              <a:ext cx="1972189" cy="1972189"/>
            </a:xfrm>
            <a:prstGeom prst="ellipse">
              <a:avLst/>
            </a:prstGeom>
            <a:noFill/>
            <a:ln w="127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1C96AB03-B5D8-4304-93D7-4E59DEAE2C85}"/>
                </a:ext>
              </a:extLst>
            </p:cNvPr>
            <p:cNvGrpSpPr/>
            <p:nvPr/>
          </p:nvGrpSpPr>
          <p:grpSpPr>
            <a:xfrm>
              <a:off x="4296828" y="5616308"/>
              <a:ext cx="657079" cy="301852"/>
              <a:chOff x="17525215" y="3603671"/>
              <a:chExt cx="657079" cy="301852"/>
            </a:xfrm>
          </p:grpSpPr>
          <p:pic>
            <p:nvPicPr>
              <p:cNvPr id="210" name="Picture 209">
                <a:extLst>
                  <a:ext uri="{FF2B5EF4-FFF2-40B4-BE49-F238E27FC236}">
                    <a16:creationId xmlns:a16="http://schemas.microsoft.com/office/drawing/2014/main" id="{29C8C6C1-7F6F-434D-A280-7EF3F36C0BFD}"/>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5567" t="73343" r="6495" b="3096"/>
              <a:stretch/>
            </p:blipFill>
            <p:spPr>
              <a:xfrm>
                <a:off x="17872276" y="3603671"/>
                <a:ext cx="310018" cy="301852"/>
              </a:xfrm>
              <a:prstGeom prst="rect">
                <a:avLst/>
              </a:prstGeom>
              <a:ln w="12700">
                <a:solidFill>
                  <a:srgbClr val="FF0000"/>
                </a:solidFill>
              </a:ln>
            </p:spPr>
          </p:pic>
          <p:pic>
            <p:nvPicPr>
              <p:cNvPr id="287" name="Picture 286">
                <a:extLst>
                  <a:ext uri="{FF2B5EF4-FFF2-40B4-BE49-F238E27FC236}">
                    <a16:creationId xmlns:a16="http://schemas.microsoft.com/office/drawing/2014/main" id="{E3EC1E4B-1080-4497-9ED1-275DCBDC14A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7173" t="3003" r="6600" b="6213"/>
              <a:stretch/>
            </p:blipFill>
            <p:spPr>
              <a:xfrm>
                <a:off x="17525215" y="3603671"/>
                <a:ext cx="310018" cy="301852"/>
              </a:xfrm>
              <a:prstGeom prst="rect">
                <a:avLst/>
              </a:prstGeom>
              <a:ln w="12700">
                <a:solidFill>
                  <a:srgbClr val="FF0000"/>
                </a:solidFill>
              </a:ln>
            </p:spPr>
          </p:pic>
        </p:grpSp>
      </p:grpSp>
      <p:sp>
        <p:nvSpPr>
          <p:cNvPr id="81" name="Freeform: Shape 80">
            <a:extLst>
              <a:ext uri="{FF2B5EF4-FFF2-40B4-BE49-F238E27FC236}">
                <a16:creationId xmlns:a16="http://schemas.microsoft.com/office/drawing/2014/main" id="{102BECFA-27AE-4FFB-8EAE-4809E11F8353}"/>
              </a:ext>
            </a:extLst>
          </p:cNvPr>
          <p:cNvSpPr/>
          <p:nvPr/>
        </p:nvSpPr>
        <p:spPr bwMode="auto">
          <a:xfrm>
            <a:off x="4261462" y="259450"/>
            <a:ext cx="4886804" cy="4886804"/>
          </a:xfrm>
          <a:custGeom>
            <a:avLst/>
            <a:gdLst>
              <a:gd name="connsiteX0" fmla="*/ 6515738 w 6515738"/>
              <a:gd name="connsiteY0" fmla="*/ 0 h 6515738"/>
              <a:gd name="connsiteX1" fmla="*/ 6515738 w 6515738"/>
              <a:gd name="connsiteY1" fmla="*/ 6515738 h 6515738"/>
              <a:gd name="connsiteX2" fmla="*/ 0 w 6515738"/>
              <a:gd name="connsiteY2" fmla="*/ 6515738 h 6515738"/>
            </a:gdLst>
            <a:ahLst/>
            <a:cxnLst>
              <a:cxn ang="0">
                <a:pos x="connsiteX0" y="connsiteY0"/>
              </a:cxn>
              <a:cxn ang="0">
                <a:pos x="connsiteX1" y="connsiteY1"/>
              </a:cxn>
              <a:cxn ang="0">
                <a:pos x="connsiteX2" y="connsiteY2"/>
              </a:cxn>
            </a:cxnLst>
            <a:rect l="l" t="t" r="r" b="b"/>
            <a:pathLst>
              <a:path w="6515738" h="6515738">
                <a:moveTo>
                  <a:pt x="6515738" y="0"/>
                </a:moveTo>
                <a:lnTo>
                  <a:pt x="6515738" y="6515738"/>
                </a:lnTo>
                <a:lnTo>
                  <a:pt x="0" y="6515738"/>
                </a:lnTo>
                <a:close/>
              </a:path>
            </a:pathLst>
          </a:custGeom>
          <a:solidFill>
            <a:schemeClr val="bg1">
              <a:lumMod val="85000"/>
              <a:lumOff val="15000"/>
              <a:alpha val="2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F61F36E7-A549-47B1-8068-A8B471DF82B5}"/>
              </a:ext>
            </a:extLst>
          </p:cNvPr>
          <p:cNvSpPr/>
          <p:nvPr/>
        </p:nvSpPr>
        <p:spPr>
          <a:xfrm>
            <a:off x="6196666" y="3300342"/>
            <a:ext cx="254261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Isolate all business data from non-</a:t>
            </a:r>
            <a:endParaRPr lang="en-IN" sz="1350" spc="-38">
              <a:ln w="3175">
                <a:noFill/>
              </a:ln>
              <a:latin typeface="+mj-lt"/>
              <a:cs typeface="Segoe UI" pitchFamily="34" charset="0"/>
            </a:endParaRPr>
          </a:p>
        </p:txBody>
      </p:sp>
      <p:sp>
        <p:nvSpPr>
          <p:cNvPr id="31" name="Rectangle 30">
            <a:extLst>
              <a:ext uri="{FF2B5EF4-FFF2-40B4-BE49-F238E27FC236}">
                <a16:creationId xmlns:a16="http://schemas.microsoft.com/office/drawing/2014/main" id="{799653AE-0548-4487-8F74-2FEA77BA50DA}"/>
              </a:ext>
            </a:extLst>
          </p:cNvPr>
          <p:cNvSpPr/>
          <p:nvPr/>
        </p:nvSpPr>
        <p:spPr>
          <a:xfrm>
            <a:off x="5999222" y="3508092"/>
            <a:ext cx="2678906"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usiness connectors. Use connector </a:t>
            </a:r>
            <a:endParaRPr lang="en-IN" sz="1350" spc="-38">
              <a:ln w="3175">
                <a:noFill/>
              </a:ln>
              <a:latin typeface="+mj-lt"/>
              <a:cs typeface="Segoe UI" pitchFamily="34" charset="0"/>
            </a:endParaRPr>
          </a:p>
        </p:txBody>
      </p:sp>
      <p:sp>
        <p:nvSpPr>
          <p:cNvPr id="32" name="Rectangle 31">
            <a:extLst>
              <a:ext uri="{FF2B5EF4-FFF2-40B4-BE49-F238E27FC236}">
                <a16:creationId xmlns:a16="http://schemas.microsoft.com/office/drawing/2014/main" id="{837D285F-5DDA-428C-B8E7-D9B62BAE3E39}"/>
              </a:ext>
            </a:extLst>
          </p:cNvPr>
          <p:cNvSpPr/>
          <p:nvPr/>
        </p:nvSpPr>
        <p:spPr>
          <a:xfrm>
            <a:off x="5789177" y="3715841"/>
            <a:ext cx="236612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locking sparingly. Leverage</a:t>
            </a:r>
            <a:endParaRPr lang="en-IN" sz="1350" spc="-38">
              <a:ln w="3175">
                <a:noFill/>
              </a:ln>
              <a:latin typeface="+mj-lt"/>
              <a:cs typeface="Segoe UI" pitchFamily="34" charset="0"/>
            </a:endParaRPr>
          </a:p>
        </p:txBody>
      </p:sp>
      <p:sp>
        <p:nvSpPr>
          <p:cNvPr id="34" name="Rectangle 33">
            <a:extLst>
              <a:ext uri="{FF2B5EF4-FFF2-40B4-BE49-F238E27FC236}">
                <a16:creationId xmlns:a16="http://schemas.microsoft.com/office/drawing/2014/main" id="{868B88A6-4A21-4DD9-9A0F-EAC3232165E1}"/>
              </a:ext>
            </a:extLst>
          </p:cNvPr>
          <p:cNvSpPr/>
          <p:nvPr/>
        </p:nvSpPr>
        <p:spPr>
          <a:xfrm>
            <a:off x="5483519" y="3923590"/>
            <a:ext cx="2423356"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environment level granularity. </a:t>
            </a:r>
            <a:endParaRPr lang="en-IN" sz="1350" spc="-38">
              <a:ln w="3175">
                <a:noFill/>
              </a:ln>
              <a:latin typeface="+mj-lt"/>
              <a:cs typeface="Segoe UI" pitchFamily="34" charset="0"/>
            </a:endParaRPr>
          </a:p>
        </p:txBody>
      </p:sp>
      <p:sp>
        <p:nvSpPr>
          <p:cNvPr id="107" name="Diamond 95">
            <a:extLst>
              <a:ext uri="{FF2B5EF4-FFF2-40B4-BE49-F238E27FC236}">
                <a16:creationId xmlns:a16="http://schemas.microsoft.com/office/drawing/2014/main" id="{EF38588B-A476-4576-BE47-5A5E03CA61FB}"/>
              </a:ext>
            </a:extLst>
          </p:cNvPr>
          <p:cNvSpPr/>
          <p:nvPr/>
        </p:nvSpPr>
        <p:spPr bwMode="auto">
          <a:xfrm>
            <a:off x="2211" y="-30212"/>
            <a:ext cx="4735564" cy="4735563"/>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cs typeface="Segoe UI" pitchFamily="34" charset="0"/>
            </a:endParaRPr>
          </a:p>
        </p:txBody>
      </p:sp>
      <p:sp>
        <p:nvSpPr>
          <p:cNvPr id="108" name="Shield_EA18" title="Icon of a shield">
            <a:extLst>
              <a:ext uri="{FF2B5EF4-FFF2-40B4-BE49-F238E27FC236}">
                <a16:creationId xmlns:a16="http://schemas.microsoft.com/office/drawing/2014/main" id="{E3072C4B-BBAA-4630-877F-A1CD352A6A02}"/>
              </a:ext>
            </a:extLst>
          </p:cNvPr>
          <p:cNvSpPr>
            <a:spLocks noChangeAspect="1"/>
          </p:cNvSpPr>
          <p:nvPr/>
        </p:nvSpPr>
        <p:spPr bwMode="auto">
          <a:xfrm>
            <a:off x="7475342" y="1999520"/>
            <a:ext cx="1006671" cy="10717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gradFill>
                <a:gsLst>
                  <a:gs pos="0">
                    <a:srgbClr val="505050"/>
                  </a:gs>
                  <a:gs pos="100000">
                    <a:srgbClr val="505050"/>
                  </a:gs>
                </a:gsLst>
              </a:gradFill>
            </a:endParaRPr>
          </a:p>
        </p:txBody>
      </p:sp>
      <p:sp>
        <p:nvSpPr>
          <p:cNvPr id="109" name="Database_EFC7" title="Icon of a cylinder">
            <a:extLst>
              <a:ext uri="{FF2B5EF4-FFF2-40B4-BE49-F238E27FC236}">
                <a16:creationId xmlns:a16="http://schemas.microsoft.com/office/drawing/2014/main" id="{01C9B425-8A3C-4865-A49C-1A6A1DCF04C0}"/>
              </a:ext>
            </a:extLst>
          </p:cNvPr>
          <p:cNvSpPr>
            <a:spLocks noChangeAspect="1" noEditPoints="1"/>
          </p:cNvSpPr>
          <p:nvPr/>
        </p:nvSpPr>
        <p:spPr bwMode="auto">
          <a:xfrm>
            <a:off x="7761092" y="2206307"/>
            <a:ext cx="435171" cy="5656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84" name="Picture 83">
            <a:extLst>
              <a:ext uri="{FF2B5EF4-FFF2-40B4-BE49-F238E27FC236}">
                <a16:creationId xmlns:a16="http://schemas.microsoft.com/office/drawing/2014/main" id="{C847BA3A-660C-4DD6-B351-FA6CFBA7CCB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34988" t="249" r="35370" b="69830"/>
          <a:stretch/>
        </p:blipFill>
        <p:spPr>
          <a:xfrm>
            <a:off x="4164211" y="1925745"/>
            <a:ext cx="232514" cy="226389"/>
          </a:xfrm>
          <a:prstGeom prst="rect">
            <a:avLst/>
          </a:prstGeom>
        </p:spPr>
      </p:pic>
      <p:grpSp>
        <p:nvGrpSpPr>
          <p:cNvPr id="2" name="Group 1">
            <a:extLst>
              <a:ext uri="{FF2B5EF4-FFF2-40B4-BE49-F238E27FC236}">
                <a16:creationId xmlns:a16="http://schemas.microsoft.com/office/drawing/2014/main" id="{A6B5DF9E-CB12-4167-955D-8DE622DED237}"/>
              </a:ext>
            </a:extLst>
          </p:cNvPr>
          <p:cNvGrpSpPr/>
          <p:nvPr/>
        </p:nvGrpSpPr>
        <p:grpSpPr>
          <a:xfrm>
            <a:off x="5404173" y="429159"/>
            <a:ext cx="1289603" cy="740276"/>
            <a:chOff x="6645477" y="-1795033"/>
            <a:chExt cx="1719471" cy="987035"/>
          </a:xfrm>
        </p:grpSpPr>
        <p:pic>
          <p:nvPicPr>
            <p:cNvPr id="86" name="Picture 85">
              <a:extLst>
                <a:ext uri="{FF2B5EF4-FFF2-40B4-BE49-F238E27FC236}">
                  <a16:creationId xmlns:a16="http://schemas.microsoft.com/office/drawing/2014/main" id="{C7E68AA5-5A03-4A0B-8A12-DF739742F14C}"/>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8931" t="84973" r="-1" b="1035"/>
            <a:stretch/>
          </p:blipFill>
          <p:spPr>
            <a:xfrm>
              <a:off x="7350203" y="-1458413"/>
              <a:ext cx="310018" cy="301852"/>
            </a:xfrm>
            <a:prstGeom prst="rect">
              <a:avLst/>
            </a:prstGeom>
          </p:spPr>
        </p:pic>
        <p:pic>
          <p:nvPicPr>
            <p:cNvPr id="88" name="Picture 87">
              <a:extLst>
                <a:ext uri="{FF2B5EF4-FFF2-40B4-BE49-F238E27FC236}">
                  <a16:creationId xmlns:a16="http://schemas.microsoft.com/office/drawing/2014/main" id="{D68C6E91-C092-4BFF-B467-ED7CDEF04E6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57779" t="31552" r="506" b="37194"/>
            <a:stretch/>
          </p:blipFill>
          <p:spPr>
            <a:xfrm>
              <a:off x="8054930" y="-1458413"/>
              <a:ext cx="310018" cy="301852"/>
            </a:xfrm>
            <a:prstGeom prst="rect">
              <a:avLst/>
            </a:prstGeom>
          </p:spPr>
        </p:pic>
        <p:pic>
          <p:nvPicPr>
            <p:cNvPr id="89" name="Picture 88">
              <a:extLst>
                <a:ext uri="{FF2B5EF4-FFF2-40B4-BE49-F238E27FC236}">
                  <a16:creationId xmlns:a16="http://schemas.microsoft.com/office/drawing/2014/main" id="{62EA5E22-3B09-42D9-B365-A8A8B9A3994C}"/>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l="3735" t="7091" r="5133" b="5800"/>
            <a:stretch/>
          </p:blipFill>
          <p:spPr>
            <a:xfrm>
              <a:off x="7702566" y="-1795033"/>
              <a:ext cx="310018" cy="301852"/>
            </a:xfrm>
            <a:prstGeom prst="rect">
              <a:avLst/>
            </a:prstGeom>
          </p:spPr>
        </p:pic>
        <p:pic>
          <p:nvPicPr>
            <p:cNvPr id="90" name="Picture 89">
              <a:extLst>
                <a:ext uri="{FF2B5EF4-FFF2-40B4-BE49-F238E27FC236}">
                  <a16:creationId xmlns:a16="http://schemas.microsoft.com/office/drawing/2014/main" id="{5E472566-E7AA-41B6-957A-5812EBB2F46C}"/>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7080" t="21647" r="842" b="64279"/>
            <a:stretch/>
          </p:blipFill>
          <p:spPr>
            <a:xfrm>
              <a:off x="6997840" y="-1121792"/>
              <a:ext cx="310018" cy="301852"/>
            </a:xfrm>
            <a:prstGeom prst="rect">
              <a:avLst/>
            </a:prstGeom>
          </p:spPr>
        </p:pic>
        <p:pic>
          <p:nvPicPr>
            <p:cNvPr id="91" name="Picture 90">
              <a:extLst>
                <a:ext uri="{FF2B5EF4-FFF2-40B4-BE49-F238E27FC236}">
                  <a16:creationId xmlns:a16="http://schemas.microsoft.com/office/drawing/2014/main" id="{12B9FBED-1C6F-40BC-A76C-7247AFC5EC75}"/>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l="8569" t="942" r="7897" b="84842"/>
            <a:stretch/>
          </p:blipFill>
          <p:spPr>
            <a:xfrm>
              <a:off x="6997840" y="-1795033"/>
              <a:ext cx="310018" cy="301852"/>
            </a:xfrm>
            <a:prstGeom prst="rect">
              <a:avLst/>
            </a:prstGeom>
          </p:spPr>
        </p:pic>
        <p:pic>
          <p:nvPicPr>
            <p:cNvPr id="92" name="Picture 91">
              <a:extLst>
                <a:ext uri="{FF2B5EF4-FFF2-40B4-BE49-F238E27FC236}">
                  <a16:creationId xmlns:a16="http://schemas.microsoft.com/office/drawing/2014/main" id="{B64389B3-E98A-4F36-8BE3-185C79F0AFF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l="12780" t="54538" r="8600" b="27663"/>
            <a:stretch/>
          </p:blipFill>
          <p:spPr>
            <a:xfrm>
              <a:off x="6645477" y="-1458413"/>
              <a:ext cx="310018" cy="301852"/>
            </a:xfrm>
            <a:prstGeom prst="rect">
              <a:avLst/>
            </a:prstGeom>
          </p:spPr>
        </p:pic>
        <p:pic>
          <p:nvPicPr>
            <p:cNvPr id="93" name="Picture 92">
              <a:extLst>
                <a:ext uri="{FF2B5EF4-FFF2-40B4-BE49-F238E27FC236}">
                  <a16:creationId xmlns:a16="http://schemas.microsoft.com/office/drawing/2014/main" id="{75C1F541-AB22-4E52-A14F-CDB9C2498A92}"/>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l="5360" t="5675" r="8998" b="7211"/>
            <a:stretch/>
          </p:blipFill>
          <p:spPr>
            <a:xfrm>
              <a:off x="6997840" y="-1458413"/>
              <a:ext cx="310018" cy="301852"/>
            </a:xfrm>
            <a:prstGeom prst="rect">
              <a:avLst/>
            </a:prstGeom>
          </p:spPr>
        </p:pic>
        <p:pic>
          <p:nvPicPr>
            <p:cNvPr id="94" name="Picture 93">
              <a:extLst>
                <a:ext uri="{FF2B5EF4-FFF2-40B4-BE49-F238E27FC236}">
                  <a16:creationId xmlns:a16="http://schemas.microsoft.com/office/drawing/2014/main" id="{A3EFC304-0DDD-4F98-9963-389239B3DA9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l="12979" t="80670" r="9580" b="1379"/>
            <a:stretch/>
          </p:blipFill>
          <p:spPr>
            <a:xfrm>
              <a:off x="7702566" y="-1458413"/>
              <a:ext cx="310018" cy="301852"/>
            </a:xfrm>
            <a:prstGeom prst="rect">
              <a:avLst/>
            </a:prstGeom>
          </p:spPr>
        </p:pic>
        <p:pic>
          <p:nvPicPr>
            <p:cNvPr id="95" name="Picture 94">
              <a:extLst>
                <a:ext uri="{FF2B5EF4-FFF2-40B4-BE49-F238E27FC236}">
                  <a16:creationId xmlns:a16="http://schemas.microsoft.com/office/drawing/2014/main" id="{BF715AB1-8723-4DBE-85DC-24752385D322}"/>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l="13035" t="1846" r="9634" b="80745"/>
            <a:stretch/>
          </p:blipFill>
          <p:spPr>
            <a:xfrm>
              <a:off x="7350203" y="-1795033"/>
              <a:ext cx="310018" cy="301852"/>
            </a:xfrm>
            <a:prstGeom prst="rect">
              <a:avLst/>
            </a:prstGeom>
          </p:spPr>
        </p:pic>
        <p:pic>
          <p:nvPicPr>
            <p:cNvPr id="96" name="Picture 95">
              <a:extLst>
                <a:ext uri="{FF2B5EF4-FFF2-40B4-BE49-F238E27FC236}">
                  <a16:creationId xmlns:a16="http://schemas.microsoft.com/office/drawing/2014/main" id="{1E9D08A6-71B6-4EDA-AAFB-C9EB9B44E0FE}"/>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l="3956" t="3675" r="6169" b="4916"/>
            <a:stretch/>
          </p:blipFill>
          <p:spPr>
            <a:xfrm>
              <a:off x="7350203" y="-1109850"/>
              <a:ext cx="310018" cy="301852"/>
            </a:xfrm>
            <a:prstGeom prst="rect">
              <a:avLst/>
            </a:prstGeom>
          </p:spPr>
        </p:pic>
        <p:pic>
          <p:nvPicPr>
            <p:cNvPr id="97" name="Picture 96">
              <a:extLst>
                <a:ext uri="{FF2B5EF4-FFF2-40B4-BE49-F238E27FC236}">
                  <a16:creationId xmlns:a16="http://schemas.microsoft.com/office/drawing/2014/main" id="{5FB2CE8D-EA39-4F6C-BDDF-A6F567278865}"/>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l="2792" t="1" r="56165" b="69518"/>
            <a:stretch/>
          </p:blipFill>
          <p:spPr>
            <a:xfrm>
              <a:off x="7702566" y="-1121792"/>
              <a:ext cx="310018" cy="301852"/>
            </a:xfrm>
            <a:prstGeom prst="rect">
              <a:avLst/>
            </a:prstGeom>
          </p:spPr>
        </p:pic>
      </p:grpSp>
      <p:cxnSp>
        <p:nvCxnSpPr>
          <p:cNvPr id="4" name="Straight Connector 3">
            <a:extLst>
              <a:ext uri="{FF2B5EF4-FFF2-40B4-BE49-F238E27FC236}">
                <a16:creationId xmlns:a16="http://schemas.microsoft.com/office/drawing/2014/main" id="{36975B67-C06C-4AC3-B27D-576D2F52F34D}"/>
              </a:ext>
            </a:extLst>
          </p:cNvPr>
          <p:cNvCxnSpPr>
            <a:cxnSpLocks/>
          </p:cNvCxnSpPr>
          <p:nvPr/>
        </p:nvCxnSpPr>
        <p:spPr>
          <a:xfrm>
            <a:off x="2000724" y="3801284"/>
            <a:ext cx="1045912" cy="1045912"/>
          </a:xfrm>
          <a:prstGeom prst="line">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 name="Picture 2">
            <a:extLst>
              <a:ext uri="{FF2B5EF4-FFF2-40B4-BE49-F238E27FC236}">
                <a16:creationId xmlns:a16="http://schemas.microsoft.com/office/drawing/2014/main" id="{F865BB6B-700B-4267-9692-085DC4EF5422}"/>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4023" t="5579" r="5601" b="6605"/>
          <a:stretch/>
        </p:blipFill>
        <p:spPr>
          <a:xfrm>
            <a:off x="5942675" y="1190198"/>
            <a:ext cx="212598" cy="227701"/>
          </a:xfrm>
          <a:prstGeom prst="rect">
            <a:avLst/>
          </a:prstGeom>
        </p:spPr>
      </p:pic>
      <p:sp>
        <p:nvSpPr>
          <p:cNvPr id="5" name="Rectangle 4">
            <a:extLst>
              <a:ext uri="{FF2B5EF4-FFF2-40B4-BE49-F238E27FC236}">
                <a16:creationId xmlns:a16="http://schemas.microsoft.com/office/drawing/2014/main" id="{5AACE68A-AC96-469E-9056-F64FFDBE6A62}"/>
              </a:ext>
            </a:extLst>
          </p:cNvPr>
          <p:cNvSpPr/>
          <p:nvPr/>
        </p:nvSpPr>
        <p:spPr>
          <a:xfrm>
            <a:off x="5309403" y="4183471"/>
            <a:ext cx="2566600"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Strike the right balance between</a:t>
            </a:r>
            <a:endParaRPr lang="en-IN" sz="1350" spc="-38">
              <a:ln w="3175">
                <a:noFill/>
              </a:ln>
              <a:latin typeface="+mj-lt"/>
              <a:cs typeface="Segoe UI" pitchFamily="34" charset="0"/>
            </a:endParaRPr>
          </a:p>
        </p:txBody>
      </p:sp>
      <p:sp>
        <p:nvSpPr>
          <p:cNvPr id="6" name="Rectangle 5">
            <a:extLst>
              <a:ext uri="{FF2B5EF4-FFF2-40B4-BE49-F238E27FC236}">
                <a16:creationId xmlns:a16="http://schemas.microsoft.com/office/drawing/2014/main" id="{83C68347-CCDD-4F47-BB39-6F07781112E6}"/>
              </a:ext>
            </a:extLst>
          </p:cNvPr>
          <p:cNvSpPr/>
          <p:nvPr/>
        </p:nvSpPr>
        <p:spPr>
          <a:xfrm>
            <a:off x="5097473" y="4418858"/>
            <a:ext cx="2071401"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protection &amp; productivity.</a:t>
            </a:r>
            <a:endParaRPr lang="en-IN" sz="1350" spc="-38">
              <a:ln w="3175">
                <a:noFill/>
              </a:ln>
              <a:latin typeface="+mj-lt"/>
              <a:cs typeface="Segoe UI" pitchFamily="34" charset="0"/>
            </a:endParaRPr>
          </a:p>
        </p:txBody>
      </p:sp>
      <p:sp>
        <p:nvSpPr>
          <p:cNvPr id="87" name="Rectangle 86">
            <a:extLst>
              <a:ext uri="{FF2B5EF4-FFF2-40B4-BE49-F238E27FC236}">
                <a16:creationId xmlns:a16="http://schemas.microsoft.com/office/drawing/2014/main" id="{7E03345C-64A7-4166-8F79-9ED588C2C470}"/>
              </a:ext>
            </a:extLst>
          </p:cNvPr>
          <p:cNvSpPr/>
          <p:nvPr/>
        </p:nvSpPr>
        <p:spPr>
          <a:xfrm>
            <a:off x="5073069" y="2430921"/>
            <a:ext cx="1568058" cy="323165"/>
          </a:xfrm>
          <a:prstGeom prst="rect">
            <a:avLst/>
          </a:prstGeom>
        </p:spPr>
        <p:txBody>
          <a:bodyPr wrap="none">
            <a:spAutoFit/>
          </a:bodyPr>
          <a:lstStyle/>
          <a:p>
            <a:r>
              <a:rPr lang="en-US" sz="1500">
                <a:solidFill>
                  <a:schemeClr val="accent1"/>
                </a:solidFill>
                <a:latin typeface="+mj-lt"/>
              </a:rPr>
              <a:t>NON-BUSINESS</a:t>
            </a:r>
            <a:endParaRPr lang="en-IN" sz="1500">
              <a:solidFill>
                <a:schemeClr val="accent1"/>
              </a:solidFill>
              <a:latin typeface="+mj-lt"/>
            </a:endParaRPr>
          </a:p>
        </p:txBody>
      </p:sp>
    </p:spTree>
    <p:extLst>
      <p:ext uri="{BB962C8B-B14F-4D97-AF65-F5344CB8AC3E}">
        <p14:creationId xmlns:p14="http://schemas.microsoft.com/office/powerpoint/2010/main" val="115272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CC00C751-853F-4FC9-AFF5-E957B3828FF7}"/>
              </a:ext>
            </a:extLst>
          </p:cNvPr>
          <p:cNvCxnSpPr>
            <a:cxnSpLocks/>
          </p:cNvCxnSpPr>
          <p:nvPr/>
        </p:nvCxnSpPr>
        <p:spPr>
          <a:xfrm>
            <a:off x="888970" y="2740579"/>
            <a:ext cx="5320640"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A8DD4D7-031A-4B36-B8E2-4400B1062B50}"/>
              </a:ext>
            </a:extLst>
          </p:cNvPr>
          <p:cNvCxnSpPr>
            <a:cxnSpLocks/>
          </p:cNvCxnSpPr>
          <p:nvPr/>
        </p:nvCxnSpPr>
        <p:spPr>
          <a:xfrm>
            <a:off x="888972" y="3697108"/>
            <a:ext cx="5740838"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A62E1CE3-2816-4222-975B-FF7251C21169}"/>
              </a:ext>
            </a:extLst>
          </p:cNvPr>
          <p:cNvSpPr/>
          <p:nvPr/>
        </p:nvSpPr>
        <p:spPr bwMode="auto">
          <a:xfrm>
            <a:off x="-188671" y="1784050"/>
            <a:ext cx="7516808" cy="3359087"/>
          </a:xfrm>
          <a:custGeom>
            <a:avLst/>
            <a:gdLst>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3958198 h 4568591"/>
              <a:gd name="connsiteX6" fmla="*/ 9187439 w 10223381"/>
              <a:gd name="connsiteY6" fmla="*/ 4568590 h 4568591"/>
              <a:gd name="connsiteX7" fmla="*/ 7934663 w 10223381"/>
              <a:gd name="connsiteY7" fmla="*/ 4568590 h 4568591"/>
              <a:gd name="connsiteX8" fmla="*/ 1252776 w 10223381"/>
              <a:gd name="connsiteY8" fmla="*/ 4568590 h 4568591"/>
              <a:gd name="connsiteX9" fmla="*/ 0 w 10223381"/>
              <a:gd name="connsiteY9" fmla="*/ 456859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4568590 h 4568591"/>
              <a:gd name="connsiteX6" fmla="*/ 7934663 w 10223381"/>
              <a:gd name="connsiteY6" fmla="*/ 4568590 h 4568591"/>
              <a:gd name="connsiteX7" fmla="*/ 1252776 w 10223381"/>
              <a:gd name="connsiteY7" fmla="*/ 4568590 h 4568591"/>
              <a:gd name="connsiteX8" fmla="*/ 0 w 10223381"/>
              <a:gd name="connsiteY8" fmla="*/ 4568590 h 4568591"/>
              <a:gd name="connsiteX9" fmla="*/ 0 w 10223381"/>
              <a:gd name="connsiteY9"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7934663 w 10223381"/>
              <a:gd name="connsiteY5" fmla="*/ 4568590 h 4568591"/>
              <a:gd name="connsiteX6" fmla="*/ 1252776 w 10223381"/>
              <a:gd name="connsiteY6" fmla="*/ 4568590 h 4568591"/>
              <a:gd name="connsiteX7" fmla="*/ 0 w 10223381"/>
              <a:gd name="connsiteY7" fmla="*/ 4568590 h 4568591"/>
              <a:gd name="connsiteX8" fmla="*/ 0 w 10223381"/>
              <a:gd name="connsiteY8"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1252776 w 10223381"/>
              <a:gd name="connsiteY5" fmla="*/ 4568590 h 4568591"/>
              <a:gd name="connsiteX6" fmla="*/ 0 w 10223381"/>
              <a:gd name="connsiteY6" fmla="*/ 4568590 h 4568591"/>
              <a:gd name="connsiteX7" fmla="*/ 0 w 10223381"/>
              <a:gd name="connsiteY7"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0 w 10223381"/>
              <a:gd name="connsiteY5" fmla="*/ 4568590 h 4568591"/>
              <a:gd name="connsiteX6" fmla="*/ 0 w 10223381"/>
              <a:gd name="connsiteY6" fmla="*/ 0 h 4568591"/>
              <a:gd name="connsiteX0" fmla="*/ 0 w 10223381"/>
              <a:gd name="connsiteY0" fmla="*/ 4568590 h 4660030"/>
              <a:gd name="connsiteX1" fmla="*/ 0 w 10223381"/>
              <a:gd name="connsiteY1" fmla="*/ 0 h 4660030"/>
              <a:gd name="connsiteX2" fmla="*/ 2469702 w 10223381"/>
              <a:gd name="connsiteY2" fmla="*/ 0 h 4660030"/>
              <a:gd name="connsiteX3" fmla="*/ 7934663 w 10223381"/>
              <a:gd name="connsiteY3" fmla="*/ 0 h 4660030"/>
              <a:gd name="connsiteX4" fmla="*/ 7939085 w 10223381"/>
              <a:gd name="connsiteY4" fmla="*/ 0 h 4660030"/>
              <a:gd name="connsiteX5" fmla="*/ 10223381 w 10223381"/>
              <a:gd name="connsiteY5" fmla="*/ 4568591 h 4660030"/>
              <a:gd name="connsiteX6" fmla="*/ 91440 w 10223381"/>
              <a:gd name="connsiteY6" fmla="*/ 4660030 h 4660030"/>
              <a:gd name="connsiteX0" fmla="*/ 0 w 10223381"/>
              <a:gd name="connsiteY0" fmla="*/ 4568590 h 4568591"/>
              <a:gd name="connsiteX1" fmla="*/ 0 w 10223381"/>
              <a:gd name="connsiteY1" fmla="*/ 0 h 4568591"/>
              <a:gd name="connsiteX2" fmla="*/ 2469702 w 10223381"/>
              <a:gd name="connsiteY2" fmla="*/ 0 h 4568591"/>
              <a:gd name="connsiteX3" fmla="*/ 7934663 w 10223381"/>
              <a:gd name="connsiteY3" fmla="*/ 0 h 4568591"/>
              <a:gd name="connsiteX4" fmla="*/ 7939085 w 10223381"/>
              <a:gd name="connsiteY4" fmla="*/ 0 h 4568591"/>
              <a:gd name="connsiteX5" fmla="*/ 10223381 w 10223381"/>
              <a:gd name="connsiteY5" fmla="*/ 4568591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3381" h="4568591">
                <a:moveTo>
                  <a:pt x="0" y="0"/>
                </a:moveTo>
                <a:lnTo>
                  <a:pt x="2469702" y="0"/>
                </a:lnTo>
                <a:lnTo>
                  <a:pt x="7934663" y="0"/>
                </a:lnTo>
                <a:lnTo>
                  <a:pt x="7939085" y="0"/>
                </a:lnTo>
                <a:lnTo>
                  <a:pt x="10223381"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cs typeface="Segoe UI" pitchFamily="34" charset="0"/>
            </a:endParaRPr>
          </a:p>
        </p:txBody>
      </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317214"/>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Applying DLP policies </a:t>
            </a:r>
          </a:p>
          <a:p>
            <a:pPr defTabSz="685775"/>
            <a:r>
              <a:rPr lang="en-US" sz="2059" spc="-37">
                <a:solidFill>
                  <a:srgbClr val="FFFFFF"/>
                </a:solidFill>
                <a:latin typeface="Segoe UI Semibold"/>
              </a:rPr>
              <a:t>to environments</a:t>
            </a:r>
          </a:p>
        </p:txBody>
      </p:sp>
      <p:sp>
        <p:nvSpPr>
          <p:cNvPr id="32" name="TextBox 31">
            <a:extLst>
              <a:ext uri="{FF2B5EF4-FFF2-40B4-BE49-F238E27FC236}">
                <a16:creationId xmlns:a16="http://schemas.microsoft.com/office/drawing/2014/main" id="{FFCBFB49-CBCA-40B7-9774-CE88DC269823}"/>
              </a:ext>
            </a:extLst>
          </p:cNvPr>
          <p:cNvSpPr txBox="1"/>
          <p:nvPr/>
        </p:nvSpPr>
        <p:spPr>
          <a:xfrm>
            <a:off x="1390300" y="1990761"/>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Multiple policies can apply to an environment</a:t>
            </a:r>
          </a:p>
        </p:txBody>
      </p:sp>
      <p:sp>
        <p:nvSpPr>
          <p:cNvPr id="33" name="TextBox 32">
            <a:extLst>
              <a:ext uri="{FF2B5EF4-FFF2-40B4-BE49-F238E27FC236}">
                <a16:creationId xmlns:a16="http://schemas.microsoft.com/office/drawing/2014/main" id="{026786EC-A8DE-40A9-BBDE-C694E3891723}"/>
              </a:ext>
            </a:extLst>
          </p:cNvPr>
          <p:cNvSpPr txBox="1"/>
          <p:nvPr/>
        </p:nvSpPr>
        <p:spPr>
          <a:xfrm>
            <a:off x="1390301" y="2947290"/>
            <a:ext cx="3823145"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The most restrictive policy applies to the combination of connectors</a:t>
            </a:r>
          </a:p>
        </p:txBody>
      </p:sp>
      <p:sp>
        <p:nvSpPr>
          <p:cNvPr id="34" name="TextBox 33">
            <a:extLst>
              <a:ext uri="{FF2B5EF4-FFF2-40B4-BE49-F238E27FC236}">
                <a16:creationId xmlns:a16="http://schemas.microsoft.com/office/drawing/2014/main" id="{2DF6D385-664D-47C1-B5D5-36580A1C557B}"/>
              </a:ext>
            </a:extLst>
          </p:cNvPr>
          <p:cNvSpPr txBox="1"/>
          <p:nvPr/>
        </p:nvSpPr>
        <p:spPr>
          <a:xfrm>
            <a:off x="1390300" y="3903819"/>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Use ONLY selected and EXCEPT to tailor which environments are impacted</a:t>
            </a:r>
          </a:p>
        </p:txBody>
      </p:sp>
      <p:grpSp>
        <p:nvGrpSpPr>
          <p:cNvPr id="18" name="Group 17">
            <a:extLst>
              <a:ext uri="{FF2B5EF4-FFF2-40B4-BE49-F238E27FC236}">
                <a16:creationId xmlns:a16="http://schemas.microsoft.com/office/drawing/2014/main" id="{B70BA28D-332A-4065-8FBE-C622D83EF89E}"/>
              </a:ext>
            </a:extLst>
          </p:cNvPr>
          <p:cNvGrpSpPr/>
          <p:nvPr/>
        </p:nvGrpSpPr>
        <p:grpSpPr>
          <a:xfrm>
            <a:off x="5846107" y="1127342"/>
            <a:ext cx="3954158" cy="3229086"/>
            <a:chOff x="9023435" y="1830420"/>
            <a:chExt cx="4082243" cy="3333684"/>
          </a:xfrm>
        </p:grpSpPr>
        <p:pic>
          <p:nvPicPr>
            <p:cNvPr id="4" name="Picture 3">
              <a:extLst>
                <a:ext uri="{FF2B5EF4-FFF2-40B4-BE49-F238E27FC236}">
                  <a16:creationId xmlns:a16="http://schemas.microsoft.com/office/drawing/2014/main" id="{C7DDD1F4-4A88-48B9-B9D0-41852519B1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23436" y="2002963"/>
              <a:ext cx="3413039" cy="3012864"/>
            </a:xfrm>
            <a:prstGeom prst="rect">
              <a:avLst/>
            </a:prstGeom>
          </p:spPr>
        </p:pic>
        <p:sp>
          <p:nvSpPr>
            <p:cNvPr id="9" name="Freeform: Shape 8">
              <a:extLst>
                <a:ext uri="{FF2B5EF4-FFF2-40B4-BE49-F238E27FC236}">
                  <a16:creationId xmlns:a16="http://schemas.microsoft.com/office/drawing/2014/main" id="{49929720-C2F0-41F6-886C-467C0DDA1678}"/>
                </a:ext>
              </a:extLst>
            </p:cNvPr>
            <p:cNvSpPr/>
            <p:nvPr/>
          </p:nvSpPr>
          <p:spPr>
            <a:xfrm flipH="1">
              <a:off x="9023435" y="1830420"/>
              <a:ext cx="4082243" cy="33336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grpSp>
        <p:nvGrpSpPr>
          <p:cNvPr id="23" name="Group 22">
            <a:extLst>
              <a:ext uri="{FF2B5EF4-FFF2-40B4-BE49-F238E27FC236}">
                <a16:creationId xmlns:a16="http://schemas.microsoft.com/office/drawing/2014/main" id="{4D14DA91-5589-4EBD-ACF0-967961D4E9FB}"/>
              </a:ext>
            </a:extLst>
          </p:cNvPr>
          <p:cNvGrpSpPr/>
          <p:nvPr/>
        </p:nvGrpSpPr>
        <p:grpSpPr>
          <a:xfrm>
            <a:off x="696035" y="2990158"/>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730685" y="2096790"/>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707478" y="3957797"/>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2414614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A02D4662-CC90-48E0-A134-1DBFC0E07F6D}"/>
              </a:ext>
            </a:extLst>
          </p:cNvPr>
          <p:cNvSpPr>
            <a:spLocks noGrp="1"/>
          </p:cNvSpPr>
          <p:nvPr>
            <p:ph type="title" idx="4294967295"/>
          </p:nvPr>
        </p:nvSpPr>
        <p:spPr>
          <a:xfrm>
            <a:off x="111095" y="443991"/>
            <a:ext cx="3827463" cy="3159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60" b="0" i="0" u="none" strike="noStrike" kern="1200" cap="none" spc="0" normalizeH="0" baseline="0" noProof="0" dirty="0">
                <a:ln>
                  <a:noFill/>
                </a:ln>
                <a:solidFill>
                  <a:schemeClr val="tx1"/>
                </a:solidFill>
                <a:effectLst/>
                <a:uLnTx/>
                <a:uFillTx/>
                <a:latin typeface="+mj-lt"/>
                <a:ea typeface="+mn-ea"/>
                <a:cs typeface="+mn-cs"/>
              </a:rPr>
              <a:t>DLP Policy Enforcement</a:t>
            </a:r>
            <a:endParaRPr kumimoji="0" lang="en-IN" sz="2060" b="0" i="0" u="none" strike="noStrike" kern="1200" cap="none" spc="0" normalizeH="0" baseline="0" noProof="0" dirty="0">
              <a:ln>
                <a:noFill/>
              </a:ln>
              <a:solidFill>
                <a:schemeClr val="tx1"/>
              </a:solidFill>
              <a:effectLst/>
              <a:uLnTx/>
              <a:uFillTx/>
              <a:latin typeface="+mj-lt"/>
              <a:ea typeface="+mn-ea"/>
              <a:cs typeface="+mn-cs"/>
            </a:endParaRPr>
          </a:p>
        </p:txBody>
      </p:sp>
      <p:sp>
        <p:nvSpPr>
          <p:cNvPr id="38" name="Rectangle 37">
            <a:extLst>
              <a:ext uri="{FF2B5EF4-FFF2-40B4-BE49-F238E27FC236}">
                <a16:creationId xmlns:a16="http://schemas.microsoft.com/office/drawing/2014/main" id="{E3CF2EAC-223F-493B-98C8-7DEDA1796302}"/>
              </a:ext>
            </a:extLst>
          </p:cNvPr>
          <p:cNvSpPr/>
          <p:nvPr/>
        </p:nvSpPr>
        <p:spPr>
          <a:xfrm>
            <a:off x="898230" y="1000083"/>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Design-time</a:t>
            </a:r>
          </a:p>
        </p:txBody>
      </p:sp>
      <p:sp>
        <p:nvSpPr>
          <p:cNvPr id="36" name="Rectangle 35">
            <a:extLst>
              <a:ext uri="{FF2B5EF4-FFF2-40B4-BE49-F238E27FC236}">
                <a16:creationId xmlns:a16="http://schemas.microsoft.com/office/drawing/2014/main" id="{7DB39A57-A5E6-45DC-8D56-A02475DA4B2B}"/>
              </a:ext>
            </a:extLst>
          </p:cNvPr>
          <p:cNvSpPr/>
          <p:nvPr/>
        </p:nvSpPr>
        <p:spPr>
          <a:xfrm>
            <a:off x="462256" y="1351294"/>
            <a:ext cx="4241407" cy="1803058"/>
          </a:xfrm>
          <a:prstGeom prst="rect">
            <a:avLst/>
          </a:prstGeom>
        </p:spPr>
        <p:txBody>
          <a:bodyPr wrap="square" lIns="0" tIns="0" rIns="0" bIns="0">
            <a:spAutoFit/>
          </a:bodyPr>
          <a:lstStyle/>
          <a:p>
            <a:pPr marL="0" lvl="1">
              <a:spcAft>
                <a:spcPts val="225"/>
              </a:spcAft>
            </a:pPr>
            <a:r>
              <a:rPr lang="en-US" sz="1050" dirty="0"/>
              <a:t>Makers see an error upon using connectors that don’t belong together or are blocked using DLP policies. </a:t>
            </a:r>
            <a:br>
              <a:rPr lang="en-US" sz="1050" dirty="0"/>
            </a:br>
            <a:br>
              <a:rPr lang="en-US" sz="1050" dirty="0"/>
            </a:br>
            <a:r>
              <a:rPr lang="en-US" sz="1050" dirty="0"/>
              <a:t>Apps violating DLP policies cannot be saved at design time unless DLP violation is resolved</a:t>
            </a:r>
            <a:br>
              <a:rPr lang="en-US" sz="1050" dirty="0"/>
            </a:br>
            <a:endParaRPr lang="en-US" sz="1050" dirty="0"/>
          </a:p>
          <a:p>
            <a:pPr marL="0" lvl="2">
              <a:spcAft>
                <a:spcPts val="225"/>
              </a:spcAft>
            </a:pPr>
            <a:r>
              <a:rPr lang="en-US" sz="1050" dirty="0"/>
              <a:t>Power Automate makers see a warning while saving a flow using connectors that don’t below together or are blocked using DLP policies </a:t>
            </a:r>
            <a:br>
              <a:rPr lang="en-US" sz="1050" dirty="0"/>
            </a:br>
            <a:br>
              <a:rPr lang="en-US" sz="1050" dirty="0"/>
            </a:br>
            <a:r>
              <a:rPr lang="en-US" sz="1050" dirty="0"/>
              <a:t>The flow will be saved but marked as ‘Suspended’ and will not execute unless DLP violation is resolved</a:t>
            </a:r>
          </a:p>
        </p:txBody>
      </p:sp>
      <p:sp>
        <p:nvSpPr>
          <p:cNvPr id="61" name="Rectangle 60">
            <a:extLst>
              <a:ext uri="{FF2B5EF4-FFF2-40B4-BE49-F238E27FC236}">
                <a16:creationId xmlns:a16="http://schemas.microsoft.com/office/drawing/2014/main" id="{62B665F7-5E34-47BD-AF63-60B4109F964E}"/>
              </a:ext>
            </a:extLst>
          </p:cNvPr>
          <p:cNvSpPr/>
          <p:nvPr/>
        </p:nvSpPr>
        <p:spPr>
          <a:xfrm>
            <a:off x="898230" y="3365444"/>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Run-time</a:t>
            </a:r>
          </a:p>
        </p:txBody>
      </p:sp>
      <p:sp>
        <p:nvSpPr>
          <p:cNvPr id="60" name="Rectangle 59">
            <a:extLst>
              <a:ext uri="{FF2B5EF4-FFF2-40B4-BE49-F238E27FC236}">
                <a16:creationId xmlns:a16="http://schemas.microsoft.com/office/drawing/2014/main" id="{C3048BC7-EF08-415F-9E9B-7C787611FE56}"/>
              </a:ext>
            </a:extLst>
          </p:cNvPr>
          <p:cNvSpPr/>
          <p:nvPr/>
        </p:nvSpPr>
        <p:spPr>
          <a:xfrm>
            <a:off x="423234" y="3746672"/>
            <a:ext cx="4241407" cy="995144"/>
          </a:xfrm>
          <a:prstGeom prst="rect">
            <a:avLst/>
          </a:prstGeom>
        </p:spPr>
        <p:txBody>
          <a:bodyPr wrap="square" lIns="0" tIns="0" rIns="0" bIns="0">
            <a:spAutoFit/>
          </a:bodyPr>
          <a:lstStyle/>
          <a:p>
            <a:pPr marL="0" lvl="1">
              <a:spcAft>
                <a:spcPts val="225"/>
              </a:spcAft>
            </a:pPr>
            <a:r>
              <a:rPr lang="en-US" sz="1050" dirty="0"/>
              <a:t>If DLP policy changes impact an existing Power App negatively then users are no longer able to launch it and get an error</a:t>
            </a:r>
            <a:br>
              <a:rPr lang="en-US" sz="1050" dirty="0"/>
            </a:br>
            <a:endParaRPr lang="en-US" sz="1050" dirty="0"/>
          </a:p>
          <a:p>
            <a:pPr marL="0" lvl="1">
              <a:spcAft>
                <a:spcPts val="225"/>
              </a:spcAft>
            </a:pPr>
            <a:r>
              <a:rPr lang="en-US" sz="1050" dirty="0"/>
              <a:t>If DLP policy changes impact an existing Power Automate negatively then it is automatically marked as suspended users are no longer able to execute it. </a:t>
            </a:r>
          </a:p>
        </p:txBody>
      </p:sp>
      <p:grpSp>
        <p:nvGrpSpPr>
          <p:cNvPr id="79" name="Group 78">
            <a:extLst>
              <a:ext uri="{FF2B5EF4-FFF2-40B4-BE49-F238E27FC236}">
                <a16:creationId xmlns:a16="http://schemas.microsoft.com/office/drawing/2014/main" id="{820A8097-9520-4A93-B0A0-6624454477F9}"/>
              </a:ext>
              <a:ext uri="{C183D7F6-B498-43B3-948B-1728B52AA6E4}">
                <adec:decorative xmlns:adec="http://schemas.microsoft.com/office/drawing/2017/decorative" val="1"/>
              </a:ext>
            </a:extLst>
          </p:cNvPr>
          <p:cNvGrpSpPr/>
          <p:nvPr/>
        </p:nvGrpSpPr>
        <p:grpSpPr>
          <a:xfrm>
            <a:off x="423235" y="898407"/>
            <a:ext cx="394680" cy="394680"/>
            <a:chOff x="586841" y="1401879"/>
            <a:chExt cx="526240" cy="526240"/>
          </a:xfrm>
          <a:solidFill>
            <a:schemeClr val="accent3">
              <a:lumMod val="40000"/>
              <a:lumOff val="60000"/>
            </a:schemeClr>
          </a:solidFill>
        </p:grpSpPr>
        <p:grpSp>
          <p:nvGrpSpPr>
            <p:cNvPr id="22" name="Group 21">
              <a:extLst>
                <a:ext uri="{FF2B5EF4-FFF2-40B4-BE49-F238E27FC236}">
                  <a16:creationId xmlns:a16="http://schemas.microsoft.com/office/drawing/2014/main" id="{B432D992-71B1-4CDC-B914-12E46AC66CF8}"/>
                </a:ext>
              </a:extLst>
            </p:cNvPr>
            <p:cNvGrpSpPr/>
            <p:nvPr/>
          </p:nvGrpSpPr>
          <p:grpSpPr>
            <a:xfrm>
              <a:off x="586841" y="1401879"/>
              <a:ext cx="526240" cy="526240"/>
              <a:chOff x="2247511" y="3320384"/>
              <a:chExt cx="596900" cy="596901"/>
            </a:xfrm>
            <a:grpFill/>
          </p:grpSpPr>
          <p:sp>
            <p:nvSpPr>
              <p:cNvPr id="34" name="Diamond 33">
                <a:extLst>
                  <a:ext uri="{FF2B5EF4-FFF2-40B4-BE49-F238E27FC236}">
                    <a16:creationId xmlns:a16="http://schemas.microsoft.com/office/drawing/2014/main" id="{02B2B0C4-EEF5-4C6A-8DED-5A3FE7496F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35" name="Diamond 34">
                <a:extLst>
                  <a:ext uri="{FF2B5EF4-FFF2-40B4-BE49-F238E27FC236}">
                    <a16:creationId xmlns:a16="http://schemas.microsoft.com/office/drawing/2014/main" id="{015923FB-7526-404B-BA3D-5300286DF1E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6" name="Pen" title="Icon of a surface pen with a drawn line below it">
              <a:extLst>
                <a:ext uri="{FF2B5EF4-FFF2-40B4-BE49-F238E27FC236}">
                  <a16:creationId xmlns:a16="http://schemas.microsoft.com/office/drawing/2014/main" id="{75415293-63AC-4212-9210-8276FFD8CC5C}"/>
                </a:ext>
              </a:extLst>
            </p:cNvPr>
            <p:cNvSpPr>
              <a:spLocks noChangeAspect="1" noEditPoints="1"/>
            </p:cNvSpPr>
            <p:nvPr/>
          </p:nvSpPr>
          <p:spPr bwMode="auto">
            <a:xfrm>
              <a:off x="764184" y="1578071"/>
              <a:ext cx="171554" cy="173857"/>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gradFill>
                  <a:gsLst>
                    <a:gs pos="0">
                      <a:srgbClr val="505050"/>
                    </a:gs>
                    <a:gs pos="100000">
                      <a:srgbClr val="505050"/>
                    </a:gs>
                  </a:gsLst>
                </a:gradFill>
              </a:endParaRPr>
            </a:p>
          </p:txBody>
        </p:sp>
      </p:grpSp>
      <p:grpSp>
        <p:nvGrpSpPr>
          <p:cNvPr id="78" name="Group 77">
            <a:extLst>
              <a:ext uri="{FF2B5EF4-FFF2-40B4-BE49-F238E27FC236}">
                <a16:creationId xmlns:a16="http://schemas.microsoft.com/office/drawing/2014/main" id="{AFF23203-7503-4677-9286-024744F0CD62}"/>
              </a:ext>
              <a:ext uri="{C183D7F6-B498-43B3-948B-1728B52AA6E4}">
                <adec:decorative xmlns:adec="http://schemas.microsoft.com/office/drawing/2017/decorative" val="1"/>
              </a:ext>
            </a:extLst>
          </p:cNvPr>
          <p:cNvGrpSpPr/>
          <p:nvPr/>
        </p:nvGrpSpPr>
        <p:grpSpPr>
          <a:xfrm>
            <a:off x="423235" y="3263768"/>
            <a:ext cx="394680" cy="394680"/>
            <a:chOff x="586841" y="4056179"/>
            <a:chExt cx="526240" cy="526240"/>
          </a:xfrm>
          <a:solidFill>
            <a:schemeClr val="accent3">
              <a:lumMod val="40000"/>
              <a:lumOff val="60000"/>
            </a:schemeClr>
          </a:solidFill>
        </p:grpSpPr>
        <p:grpSp>
          <p:nvGrpSpPr>
            <p:cNvPr id="62" name="Group 61">
              <a:extLst>
                <a:ext uri="{FF2B5EF4-FFF2-40B4-BE49-F238E27FC236}">
                  <a16:creationId xmlns:a16="http://schemas.microsoft.com/office/drawing/2014/main" id="{2508C162-29DD-48BF-B2AE-D7835F1F8189}"/>
                </a:ext>
              </a:extLst>
            </p:cNvPr>
            <p:cNvGrpSpPr/>
            <p:nvPr/>
          </p:nvGrpSpPr>
          <p:grpSpPr>
            <a:xfrm>
              <a:off x="586841" y="4056179"/>
              <a:ext cx="526240" cy="526240"/>
              <a:chOff x="2247511" y="3320384"/>
              <a:chExt cx="596900" cy="596901"/>
            </a:xfrm>
            <a:grpFill/>
          </p:grpSpPr>
          <p:sp>
            <p:nvSpPr>
              <p:cNvPr id="74" name="Diamond 73">
                <a:extLst>
                  <a:ext uri="{FF2B5EF4-FFF2-40B4-BE49-F238E27FC236}">
                    <a16:creationId xmlns:a16="http://schemas.microsoft.com/office/drawing/2014/main" id="{7AA8BB3F-94D4-46CE-AD83-6ECE42037FB1}"/>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75" name="Diamond 74">
                <a:extLst>
                  <a:ext uri="{FF2B5EF4-FFF2-40B4-BE49-F238E27FC236}">
                    <a16:creationId xmlns:a16="http://schemas.microsoft.com/office/drawing/2014/main" id="{A7E4372B-48BE-4D9F-88A3-112BC213296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7" name="PageRight_E761" title="Icon of a chevron bracket in a circle pointed right">
              <a:extLst>
                <a:ext uri="{FF2B5EF4-FFF2-40B4-BE49-F238E27FC236}">
                  <a16:creationId xmlns:a16="http://schemas.microsoft.com/office/drawing/2014/main" id="{6F8D68B4-CCA4-427E-8DC9-7C5D60F2A5C7}"/>
                </a:ext>
              </a:extLst>
            </p:cNvPr>
            <p:cNvSpPr>
              <a:spLocks noChangeAspect="1" noEditPoints="1"/>
            </p:cNvSpPr>
            <p:nvPr/>
          </p:nvSpPr>
          <p:spPr bwMode="auto">
            <a:xfrm>
              <a:off x="775954" y="4245238"/>
              <a:ext cx="148014" cy="14812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dirty="0">
                <a:gradFill>
                  <a:gsLst>
                    <a:gs pos="0">
                      <a:srgbClr val="505050"/>
                    </a:gs>
                    <a:gs pos="100000">
                      <a:srgbClr val="505050"/>
                    </a:gs>
                  </a:gsLst>
                  <a:lin ang="5400000" scaled="1"/>
                </a:gradFill>
              </a:endParaRPr>
            </a:p>
          </p:txBody>
        </p:sp>
      </p:grpSp>
      <p:sp>
        <p:nvSpPr>
          <p:cNvPr id="12" name="Freeform: Shape 11">
            <a:extLst>
              <a:ext uri="{FF2B5EF4-FFF2-40B4-BE49-F238E27FC236}">
                <a16:creationId xmlns:a16="http://schemas.microsoft.com/office/drawing/2014/main" id="{9B3D8F35-B6FF-43E2-8A0D-C1CC9E34664A}"/>
              </a:ext>
              <a:ext uri="{C183D7F6-B498-43B3-948B-1728B52AA6E4}">
                <adec:decorative xmlns:adec="http://schemas.microsoft.com/office/drawing/2017/decorative" val="1"/>
              </a:ext>
            </a:extLst>
          </p:cNvPr>
          <p:cNvSpPr/>
          <p:nvPr/>
        </p:nvSpPr>
        <p:spPr bwMode="auto">
          <a:xfrm>
            <a:off x="5094427" y="685800"/>
            <a:ext cx="4049573" cy="4457701"/>
          </a:xfrm>
          <a:custGeom>
            <a:avLst/>
            <a:gdLst>
              <a:gd name="connsiteX0" fmla="*/ 4513702 w 5399431"/>
              <a:gd name="connsiteY0" fmla="*/ 0 h 5943601"/>
              <a:gd name="connsiteX1" fmla="*/ 5399431 w 5399431"/>
              <a:gd name="connsiteY1" fmla="*/ 885729 h 5943601"/>
              <a:gd name="connsiteX2" fmla="*/ 5399431 w 5399431"/>
              <a:gd name="connsiteY2" fmla="*/ 5943601 h 5943601"/>
              <a:gd name="connsiteX3" fmla="*/ 1429896 w 5399431"/>
              <a:gd name="connsiteY3" fmla="*/ 5943601 h 5943601"/>
              <a:gd name="connsiteX4" fmla="*/ 0 w 5399431"/>
              <a:gd name="connsiteY4" fmla="*/ 4513704 h 594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431" h="5943601">
                <a:moveTo>
                  <a:pt x="4513702" y="0"/>
                </a:moveTo>
                <a:lnTo>
                  <a:pt x="5399431" y="885729"/>
                </a:lnTo>
                <a:lnTo>
                  <a:pt x="5399431" y="5943601"/>
                </a:lnTo>
                <a:lnTo>
                  <a:pt x="1429896" y="5943601"/>
                </a:lnTo>
                <a:lnTo>
                  <a:pt x="0" y="4513704"/>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80" name="Group 79" descr="DLP Policy Enforcement - Screenshots">
            <a:extLst>
              <a:ext uri="{FF2B5EF4-FFF2-40B4-BE49-F238E27FC236}">
                <a16:creationId xmlns:a16="http://schemas.microsoft.com/office/drawing/2014/main" id="{35880842-2515-4E22-951C-7EEAF9F8F9B3}"/>
              </a:ext>
            </a:extLst>
          </p:cNvPr>
          <p:cNvGrpSpPr/>
          <p:nvPr/>
        </p:nvGrpSpPr>
        <p:grpSpPr>
          <a:xfrm>
            <a:off x="5294120" y="1183553"/>
            <a:ext cx="3612614" cy="3618309"/>
            <a:chOff x="6792568" y="1436689"/>
            <a:chExt cx="4816819" cy="4824412"/>
          </a:xfrm>
          <a:solidFill>
            <a:schemeClr val="tx1"/>
          </a:solidFill>
        </p:grpSpPr>
        <p:sp>
          <p:nvSpPr>
            <p:cNvPr id="81" name="Rectangle: Rounded Corners 80">
              <a:extLst>
                <a:ext uri="{FF2B5EF4-FFF2-40B4-BE49-F238E27FC236}">
                  <a16:creationId xmlns:a16="http://schemas.microsoft.com/office/drawing/2014/main" id="{4811BCAC-AA81-4A8C-B279-55A0F98D001F}"/>
                </a:ext>
              </a:extLst>
            </p:cNvPr>
            <p:cNvSpPr/>
            <p:nvPr/>
          </p:nvSpPr>
          <p:spPr bwMode="auto">
            <a:xfrm>
              <a:off x="6792568" y="1436689"/>
              <a:ext cx="4816819" cy="4824412"/>
            </a:xfrm>
            <a:prstGeom prst="roundRect">
              <a:avLst>
                <a:gd name="adj" fmla="val 5002"/>
              </a:avLst>
            </a:prstGeom>
            <a:solidFill>
              <a:schemeClr val="bg1"/>
            </a:solidFill>
            <a:ln>
              <a:solidFill>
                <a:schemeClr val="bg1">
                  <a:lumMod val="85000"/>
                  <a:lumOff val="1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FD817AF4-D7E5-4903-8721-528242F55F6C}"/>
                </a:ext>
              </a:extLst>
            </p:cNvPr>
            <p:cNvGrpSpPr/>
            <p:nvPr/>
          </p:nvGrpSpPr>
          <p:grpSpPr>
            <a:xfrm>
              <a:off x="6992243" y="1763848"/>
              <a:ext cx="4417468" cy="4170095"/>
              <a:chOff x="6792569" y="2453640"/>
              <a:chExt cx="3865197" cy="3648750"/>
            </a:xfrm>
            <a:grpFill/>
          </p:grpSpPr>
          <p:pic>
            <p:nvPicPr>
              <p:cNvPr id="84" name="Picture 83">
                <a:extLst>
                  <a:ext uri="{FF2B5EF4-FFF2-40B4-BE49-F238E27FC236}">
                    <a16:creationId xmlns:a16="http://schemas.microsoft.com/office/drawing/2014/main" id="{FE5F8B3A-5A1D-4E05-99C7-65BFEBC2C772}"/>
                  </a:ext>
                </a:extLst>
              </p:cNvPr>
              <p:cNvPicPr/>
              <p:nvPr/>
            </p:nvPicPr>
            <p:blipFill rotWithShape="1">
              <a:blip r:embed="rId3" cstate="print">
                <a:extLst>
                  <a:ext uri="{28A0092B-C50C-407E-A947-70E740481C1C}">
                    <a14:useLocalDpi xmlns:a14="http://schemas.microsoft.com/office/drawing/2010/main"/>
                  </a:ext>
                </a:extLst>
              </a:blip>
              <a:srcRect l="17616" t="34835" r="14673" b="20524"/>
              <a:stretch/>
            </p:blipFill>
            <p:spPr bwMode="auto">
              <a:xfrm>
                <a:off x="8422510" y="2453640"/>
                <a:ext cx="2235256" cy="1020819"/>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5" name="Picture 84">
                <a:extLst>
                  <a:ext uri="{FF2B5EF4-FFF2-40B4-BE49-F238E27FC236}">
                    <a16:creationId xmlns:a16="http://schemas.microsoft.com/office/drawing/2014/main" id="{7C62E7B8-54C6-4497-9417-E4E0B13C6A3E}"/>
                  </a:ext>
                </a:extLst>
              </p:cNvPr>
              <p:cNvPicPr/>
              <p:nvPr/>
            </p:nvPicPr>
            <p:blipFill rotWithShape="1">
              <a:blip r:embed="rId4" cstate="print">
                <a:extLst>
                  <a:ext uri="{28A0092B-C50C-407E-A947-70E740481C1C}">
                    <a14:useLocalDpi xmlns:a14="http://schemas.microsoft.com/office/drawing/2010/main"/>
                  </a:ext>
                </a:extLst>
              </a:blip>
              <a:srcRect t="3377" b="18309"/>
              <a:stretch/>
            </p:blipFill>
            <p:spPr bwMode="auto">
              <a:xfrm>
                <a:off x="6792569" y="3614752"/>
                <a:ext cx="3865197" cy="481960"/>
              </a:xfrm>
              <a:prstGeom prst="rect">
                <a:avLst/>
              </a:prstGeom>
              <a:grpFill/>
              <a:ln>
                <a:noFill/>
              </a:ln>
              <a:effectLst>
                <a:outerShdw blurRad="50800" dist="38100" dir="2700000" algn="tl" rotWithShape="0">
                  <a:prstClr val="black">
                    <a:alpha val="40000"/>
                  </a:prstClr>
                </a:outerShdw>
              </a:effectLst>
            </p:spPr>
          </p:pic>
          <p:pic>
            <p:nvPicPr>
              <p:cNvPr id="86" name="Picture 85">
                <a:extLst>
                  <a:ext uri="{FF2B5EF4-FFF2-40B4-BE49-F238E27FC236}">
                    <a16:creationId xmlns:a16="http://schemas.microsoft.com/office/drawing/2014/main" id="{4B24F56B-3D97-4B01-94BD-89FE2DAD4F5E}"/>
                  </a:ext>
                </a:extLst>
              </p:cNvPr>
              <p:cNvPicPr/>
              <p:nvPr/>
            </p:nvPicPr>
            <p:blipFill rotWithShape="1">
              <a:blip r:embed="rId5" cstate="print">
                <a:extLst>
                  <a:ext uri="{28A0092B-C50C-407E-A947-70E740481C1C}">
                    <a14:useLocalDpi xmlns:a14="http://schemas.microsoft.com/office/drawing/2010/main"/>
                  </a:ext>
                </a:extLst>
              </a:blip>
              <a:srcRect l="1" r="14192"/>
              <a:stretch/>
            </p:blipFill>
            <p:spPr bwMode="auto">
              <a:xfrm>
                <a:off x="7094449" y="5321852"/>
                <a:ext cx="3563317" cy="780538"/>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7" name="Picture 86">
                <a:extLst>
                  <a:ext uri="{FF2B5EF4-FFF2-40B4-BE49-F238E27FC236}">
                    <a16:creationId xmlns:a16="http://schemas.microsoft.com/office/drawing/2014/main" id="{536B81F4-C3F1-4879-AFBF-9BA4B9B58BED}"/>
                  </a:ext>
                </a:extLst>
              </p:cNvPr>
              <p:cNvPicPr/>
              <p:nvPr/>
            </p:nvPicPr>
            <p:blipFill rotWithShape="1">
              <a:blip r:embed="rId6" cstate="print">
                <a:extLst>
                  <a:ext uri="{28A0092B-C50C-407E-A947-70E740481C1C}">
                    <a14:useLocalDpi xmlns:a14="http://schemas.microsoft.com/office/drawing/2010/main"/>
                  </a:ext>
                </a:extLst>
              </a:blip>
              <a:srcRect l="436" r="13117" b="14282"/>
              <a:stretch/>
            </p:blipFill>
            <p:spPr bwMode="auto">
              <a:xfrm>
                <a:off x="8232212" y="4181528"/>
                <a:ext cx="2425553" cy="1055509"/>
              </a:xfrm>
              <a:prstGeom prst="rect">
                <a:avLst/>
              </a:prstGeom>
              <a:grpFill/>
              <a:ln>
                <a:noFill/>
              </a:ln>
              <a:effectLst>
                <a:outerShdw blurRad="50800" dist="38100" dir="2700000" algn="tl" rotWithShape="0">
                  <a:prstClr val="black">
                    <a:alpha val="40000"/>
                  </a:prstClr>
                </a:outerShdw>
              </a:effectLst>
            </p:spPr>
          </p:pic>
        </p:grpSp>
      </p:grpSp>
    </p:spTree>
    <p:extLst>
      <p:ext uri="{BB962C8B-B14F-4D97-AF65-F5344CB8AC3E}">
        <p14:creationId xmlns:p14="http://schemas.microsoft.com/office/powerpoint/2010/main" val="81266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4A4BEC-D2F5-406C-B181-4B0FD433C475}"/>
              </a:ext>
            </a:extLst>
          </p:cNvPr>
          <p:cNvSpPr>
            <a:spLocks noGrp="1"/>
          </p:cNvSpPr>
          <p:nvPr>
            <p:ph type="title"/>
          </p:nvPr>
        </p:nvSpPr>
        <p:spPr/>
        <p:txBody>
          <a:bodyPr/>
          <a:lstStyle/>
          <a:p>
            <a:r>
              <a:rPr lang="en-IN" dirty="0"/>
              <a:t>DLP Management Interfaces</a:t>
            </a:r>
          </a:p>
        </p:txBody>
      </p:sp>
      <p:sp>
        <p:nvSpPr>
          <p:cNvPr id="6" name="Rectangle 5">
            <a:extLst>
              <a:ext uri="{FF2B5EF4-FFF2-40B4-BE49-F238E27FC236}">
                <a16:creationId xmlns:a16="http://schemas.microsoft.com/office/drawing/2014/main" id="{80C3F9EB-1EE7-4D50-9E81-FBF96BF9D501}"/>
              </a:ext>
              <a:ext uri="{C183D7F6-B498-43B3-948B-1728B52AA6E4}">
                <adec:decorative xmlns:adec="http://schemas.microsoft.com/office/drawing/2017/decorative" val="1"/>
              </a:ext>
            </a:extLst>
          </p:cNvPr>
          <p:cNvSpPr/>
          <p:nvPr/>
        </p:nvSpPr>
        <p:spPr bwMode="auto">
          <a:xfrm>
            <a:off x="0" y="1077517"/>
            <a:ext cx="9144000" cy="3313508"/>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58" name="Group 57" descr="Power Platform for Admins - Screenshot">
            <a:extLst>
              <a:ext uri="{FF2B5EF4-FFF2-40B4-BE49-F238E27FC236}">
                <a16:creationId xmlns:a16="http://schemas.microsoft.com/office/drawing/2014/main" id="{CC58B2EE-3BDA-45DF-9FED-43FB85EFC0FE}"/>
              </a:ext>
            </a:extLst>
          </p:cNvPr>
          <p:cNvGrpSpPr/>
          <p:nvPr/>
        </p:nvGrpSpPr>
        <p:grpSpPr>
          <a:xfrm>
            <a:off x="316319" y="1421606"/>
            <a:ext cx="2765529" cy="1701573"/>
            <a:chOff x="421759" y="1895475"/>
            <a:chExt cx="3687372" cy="2268764"/>
          </a:xfrm>
        </p:grpSpPr>
        <p:sp>
          <p:nvSpPr>
            <p:cNvPr id="25" name="Rectangle: Rounded Corners 24">
              <a:extLst>
                <a:ext uri="{FF2B5EF4-FFF2-40B4-BE49-F238E27FC236}">
                  <a16:creationId xmlns:a16="http://schemas.microsoft.com/office/drawing/2014/main" id="{3CD48D63-9F1F-4154-835A-1E858BBF529F}"/>
                </a:ext>
              </a:extLst>
            </p:cNvPr>
            <p:cNvSpPr/>
            <p:nvPr/>
          </p:nvSpPr>
          <p:spPr bwMode="auto">
            <a:xfrm>
              <a:off x="421759"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AE0618D1-377D-4DB9-990D-3AF7624CA9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1002" r="487" b="43779"/>
            <a:stretch/>
          </p:blipFill>
          <p:spPr>
            <a:xfrm>
              <a:off x="546417" y="2009133"/>
              <a:ext cx="3438056" cy="2041448"/>
            </a:xfrm>
            <a:prstGeom prst="rect">
              <a:avLst/>
            </a:prstGeom>
            <a:ln>
              <a:solidFill>
                <a:schemeClr val="tx1"/>
              </a:solidFill>
            </a:ln>
          </p:spPr>
        </p:pic>
      </p:grpSp>
      <p:sp>
        <p:nvSpPr>
          <p:cNvPr id="29" name="Rectangle: Rounded Corners 28">
            <a:extLst>
              <a:ext uri="{FF2B5EF4-FFF2-40B4-BE49-F238E27FC236}">
                <a16:creationId xmlns:a16="http://schemas.microsoft.com/office/drawing/2014/main" id="{2A70C94C-DA77-4715-BB35-EDDB7E117582}"/>
              </a:ext>
            </a:extLst>
          </p:cNvPr>
          <p:cNvSpPr/>
          <p:nvPr/>
        </p:nvSpPr>
        <p:spPr bwMode="auto">
          <a:xfrm>
            <a:off x="435151"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 for Admins Connector</a:t>
            </a:r>
          </a:p>
        </p:txBody>
      </p:sp>
      <p:grpSp>
        <p:nvGrpSpPr>
          <p:cNvPr id="63" name="Group 62" descr="Power Platform Admin Center - Screenshot">
            <a:extLst>
              <a:ext uri="{FF2B5EF4-FFF2-40B4-BE49-F238E27FC236}">
                <a16:creationId xmlns:a16="http://schemas.microsoft.com/office/drawing/2014/main" id="{0CC49DF9-5677-4EA7-BC74-DE04D7BB677A}"/>
              </a:ext>
            </a:extLst>
          </p:cNvPr>
          <p:cNvGrpSpPr/>
          <p:nvPr/>
        </p:nvGrpSpPr>
        <p:grpSpPr>
          <a:xfrm>
            <a:off x="3178071" y="1421606"/>
            <a:ext cx="2765529" cy="1701573"/>
            <a:chOff x="4237428" y="1895475"/>
            <a:chExt cx="3687372" cy="2268764"/>
          </a:xfrm>
        </p:grpSpPr>
        <p:sp>
          <p:nvSpPr>
            <p:cNvPr id="34" name="Rectangle: Rounded Corners 33">
              <a:extLst>
                <a:ext uri="{FF2B5EF4-FFF2-40B4-BE49-F238E27FC236}">
                  <a16:creationId xmlns:a16="http://schemas.microsoft.com/office/drawing/2014/main" id="{2E8CBAD3-8429-49C5-9A1F-5D4537A020A0}"/>
                </a:ext>
              </a:extLst>
            </p:cNvPr>
            <p:cNvSpPr/>
            <p:nvPr/>
          </p:nvSpPr>
          <p:spPr bwMode="auto">
            <a:xfrm>
              <a:off x="423742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BEFBA714-660F-4565-88D0-7C6C332FA6F6}"/>
                </a:ext>
              </a:extLst>
            </p:cNvPr>
            <p:cNvPicPr>
              <a:picLocks/>
            </p:cNvPicPr>
            <p:nvPr/>
          </p:nvPicPr>
          <p:blipFill rotWithShape="1">
            <a:blip r:embed="rId4" cstate="print">
              <a:extLst>
                <a:ext uri="{28A0092B-C50C-407E-A947-70E740481C1C}">
                  <a14:useLocalDpi xmlns:a14="http://schemas.microsoft.com/office/drawing/2010/main"/>
                </a:ext>
              </a:extLst>
            </a:blip>
            <a:srcRect r="5554"/>
            <a:stretch/>
          </p:blipFill>
          <p:spPr>
            <a:xfrm>
              <a:off x="4362086" y="2009776"/>
              <a:ext cx="3438056" cy="2040164"/>
            </a:xfrm>
            <a:prstGeom prst="rect">
              <a:avLst/>
            </a:prstGeom>
            <a:ln>
              <a:solidFill>
                <a:schemeClr val="tx1"/>
              </a:solidFill>
            </a:ln>
          </p:spPr>
        </p:pic>
      </p:grpSp>
      <p:sp>
        <p:nvSpPr>
          <p:cNvPr id="30" name="Rectangle: Rounded Corners 29">
            <a:extLst>
              <a:ext uri="{FF2B5EF4-FFF2-40B4-BE49-F238E27FC236}">
                <a16:creationId xmlns:a16="http://schemas.microsoft.com/office/drawing/2014/main" id="{975C9F6E-D0C6-41D2-836F-68EFB533A962}"/>
              </a:ext>
            </a:extLst>
          </p:cNvPr>
          <p:cNvSpPr/>
          <p:nvPr/>
        </p:nvSpPr>
        <p:spPr bwMode="auto">
          <a:xfrm>
            <a:off x="3233738"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Admin Center</a:t>
            </a:r>
          </a:p>
        </p:txBody>
      </p:sp>
      <p:grpSp>
        <p:nvGrpSpPr>
          <p:cNvPr id="64" name="Group 63" descr="Windows Powershell - Screenshot">
            <a:extLst>
              <a:ext uri="{FF2B5EF4-FFF2-40B4-BE49-F238E27FC236}">
                <a16:creationId xmlns:a16="http://schemas.microsoft.com/office/drawing/2014/main" id="{1561CEE4-8E28-4EE0-BED7-7B76CCC567EF}"/>
              </a:ext>
            </a:extLst>
          </p:cNvPr>
          <p:cNvGrpSpPr/>
          <p:nvPr/>
        </p:nvGrpSpPr>
        <p:grpSpPr>
          <a:xfrm>
            <a:off x="6039824" y="1421606"/>
            <a:ext cx="2765529" cy="1701573"/>
            <a:chOff x="8053098" y="1895475"/>
            <a:chExt cx="3687372" cy="2268764"/>
          </a:xfrm>
        </p:grpSpPr>
        <p:sp>
          <p:nvSpPr>
            <p:cNvPr id="33" name="Rectangle: Rounded Corners 32">
              <a:extLst>
                <a:ext uri="{FF2B5EF4-FFF2-40B4-BE49-F238E27FC236}">
                  <a16:creationId xmlns:a16="http://schemas.microsoft.com/office/drawing/2014/main" id="{A8366781-877C-453D-ABA1-7BE5B8C56C2D}"/>
                </a:ext>
              </a:extLst>
            </p:cNvPr>
            <p:cNvSpPr/>
            <p:nvPr/>
          </p:nvSpPr>
          <p:spPr bwMode="auto">
            <a:xfrm>
              <a:off x="805309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1" name="Picture 40">
              <a:extLst>
                <a:ext uri="{FF2B5EF4-FFF2-40B4-BE49-F238E27FC236}">
                  <a16:creationId xmlns:a16="http://schemas.microsoft.com/office/drawing/2014/main" id="{A8BAD22D-C757-47EB-8444-CC6863E3BA5E}"/>
                </a:ext>
              </a:extLst>
            </p:cNvPr>
            <p:cNvPicPr>
              <a:picLocks noChangeAspect="1"/>
            </p:cNvPicPr>
            <p:nvPr/>
          </p:nvPicPr>
          <p:blipFill rotWithShape="1">
            <a:blip r:embed="rId5"/>
            <a:srcRect l="-1" t="1924" r="6797"/>
            <a:stretch/>
          </p:blipFill>
          <p:spPr>
            <a:xfrm>
              <a:off x="8177756" y="2006217"/>
              <a:ext cx="3438056" cy="2047280"/>
            </a:xfrm>
            <a:prstGeom prst="rect">
              <a:avLst/>
            </a:prstGeom>
            <a:ln>
              <a:solidFill>
                <a:schemeClr val="tx1"/>
              </a:solidFill>
            </a:ln>
          </p:spPr>
        </p:pic>
      </p:grpSp>
      <p:sp>
        <p:nvSpPr>
          <p:cNvPr id="31" name="Rectangle: Rounded Corners 30">
            <a:extLst>
              <a:ext uri="{FF2B5EF4-FFF2-40B4-BE49-F238E27FC236}">
                <a16:creationId xmlns:a16="http://schemas.microsoft.com/office/drawing/2014/main" id="{FA149876-56DA-4778-AD7F-2AF61366F1E2}"/>
              </a:ext>
            </a:extLst>
          </p:cNvPr>
          <p:cNvSpPr/>
          <p:nvPr/>
        </p:nvSpPr>
        <p:spPr bwMode="auto">
          <a:xfrm>
            <a:off x="6032326"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Apps</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PowerShell</a:t>
            </a:r>
          </a:p>
        </p:txBody>
      </p:sp>
      <p:cxnSp>
        <p:nvCxnSpPr>
          <p:cNvPr id="65" name="Straight Connector 64">
            <a:extLst>
              <a:ext uri="{FF2B5EF4-FFF2-40B4-BE49-F238E27FC236}">
                <a16:creationId xmlns:a16="http://schemas.microsoft.com/office/drawing/2014/main" id="{0420AE73-8244-49EF-92FD-FC5B0900B407}"/>
              </a:ext>
              <a:ext uri="{C183D7F6-B498-43B3-948B-1728B52AA6E4}">
                <adec:decorative xmlns:adec="http://schemas.microsoft.com/office/drawing/2017/decorative" val="1"/>
              </a:ext>
            </a:extLst>
          </p:cNvPr>
          <p:cNvCxnSpPr>
            <a:cxnSpLocks/>
          </p:cNvCxnSpPr>
          <p:nvPr/>
        </p:nvCxnSpPr>
        <p:spPr>
          <a:xfrm>
            <a:off x="3129960"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C025A1-6FAA-463F-95F9-CC05CA04ED32}"/>
              </a:ext>
              <a:ext uri="{C183D7F6-B498-43B3-948B-1728B52AA6E4}">
                <adec:decorative xmlns:adec="http://schemas.microsoft.com/office/drawing/2017/decorative" val="1"/>
              </a:ext>
            </a:extLst>
          </p:cNvPr>
          <p:cNvCxnSpPr>
            <a:cxnSpLocks/>
          </p:cNvCxnSpPr>
          <p:nvPr/>
        </p:nvCxnSpPr>
        <p:spPr>
          <a:xfrm>
            <a:off x="5991712"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26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42" presetClass="path" presetSubtype="0" decel="100000" fill="hold" grpId="1" nodeType="withEffect">
                                  <p:stCondLst>
                                    <p:cond delay="0"/>
                                  </p:stCondLst>
                                  <p:childTnLst>
                                    <p:animMotion origin="layout" path="M -3.125E-6 4.07407E-6 L -3.125E-6 0.03541 " pathEditMode="relative" rAng="0" ptsTypes="AA">
                                      <p:cBhvr>
                                        <p:cTn id="12" dur="700" spd="-100000" fill="hold"/>
                                        <p:tgtEl>
                                          <p:spTgt spid="29"/>
                                        </p:tgtEl>
                                        <p:attrNameLst>
                                          <p:attrName>ppt_x</p:attrName>
                                          <p:attrName>ppt_y</p:attrName>
                                        </p:attrNameLst>
                                      </p:cBhvr>
                                      <p:rCtr x="0" y="1782"/>
                                    </p:animMotion>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42" presetClass="path" presetSubtype="0" decel="100000" fill="hold" grpId="1" nodeType="withEffect">
                                  <p:stCondLst>
                                    <p:cond delay="0"/>
                                  </p:stCondLst>
                                  <p:childTnLst>
                                    <p:animMotion origin="layout" path="M -3.125E-6 4.07407E-6 L -3.125E-6 0.03541 " pathEditMode="relative" rAng="0" ptsTypes="AA">
                                      <p:cBhvr>
                                        <p:cTn id="25" dur="700" spd="-100000" fill="hold"/>
                                        <p:tgtEl>
                                          <p:spTgt spid="30"/>
                                        </p:tgtEl>
                                        <p:attrNameLst>
                                          <p:attrName>ppt_x</p:attrName>
                                          <p:attrName>ppt_y</p:attrName>
                                        </p:attrNameLst>
                                      </p:cBhvr>
                                      <p:rCtr x="0" y="1782"/>
                                    </p:animMotion>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42" presetClass="path" presetSubtype="0" decel="100000" fill="hold" grpId="1" nodeType="withEffect">
                                  <p:stCondLst>
                                    <p:cond delay="0"/>
                                  </p:stCondLst>
                                  <p:childTnLst>
                                    <p:animMotion origin="layout" path="M -3.125E-6 4.07407E-6 L -3.125E-6 0.03541 " pathEditMode="relative" rAng="0" ptsTypes="AA">
                                      <p:cBhvr>
                                        <p:cTn id="38" dur="700" spd="-100000" fill="hold"/>
                                        <p:tgtEl>
                                          <p:spTgt spid="31"/>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0" grpId="0"/>
      <p:bldP spid="30" grpId="1"/>
      <p:bldP spid="31" grpId="0"/>
      <p:bldP spid="31"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780563" y="2062299"/>
            <a:ext cx="1620000" cy="1608646"/>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Power Apps and flow Mak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Anyone, creating an app or a flow for personal productivity, increasing department efficiency or sharing across an organization</a:t>
            </a: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426036" y="421234"/>
            <a:ext cx="8291930" cy="554429"/>
          </a:xfrm>
        </p:spPr>
        <p:txBody>
          <a:bodyPr/>
          <a:lstStyle/>
          <a:p>
            <a:pPr algn="l"/>
            <a:r>
              <a:rPr lang="en-US" dirty="0">
                <a:solidFill>
                  <a:schemeClr val="tx1"/>
                </a:solidFill>
              </a:rPr>
              <a:t>Who are we talking about?  </a:t>
            </a:r>
          </a:p>
        </p:txBody>
      </p:sp>
      <p:sp>
        <p:nvSpPr>
          <p:cNvPr id="3" name="Text Placeholder 2">
            <a:extLst>
              <a:ext uri="{FF2B5EF4-FFF2-40B4-BE49-F238E27FC236}">
                <a16:creationId xmlns:a16="http://schemas.microsoft.com/office/drawing/2014/main" id="{0781755E-4E33-2D40-814F-AE8F230D0579}"/>
              </a:ext>
            </a:extLst>
          </p:cNvPr>
          <p:cNvSpPr>
            <a:spLocks noGrp="1"/>
          </p:cNvSpPr>
          <p:nvPr>
            <p:ph type="body" sz="quarter" idx="12"/>
          </p:nvPr>
        </p:nvSpPr>
        <p:spPr>
          <a:xfrm>
            <a:off x="435478" y="914797"/>
            <a:ext cx="8285165" cy="226344"/>
          </a:xfrm>
        </p:spPr>
        <p:txBody>
          <a:bodyPr/>
          <a:lstStyle/>
          <a:p>
            <a:pPr algn="l" defTabSz="685577" fontAlgn="base">
              <a:spcBef>
                <a:spcPts val="882"/>
              </a:spcBef>
              <a:spcAft>
                <a:spcPts val="0"/>
              </a:spcAft>
            </a:pPr>
            <a:r>
              <a:rPr lang="en-GB" dirty="0"/>
              <a:t>Typical roles involved in Platform Governance</a:t>
            </a:r>
          </a:p>
        </p:txBody>
      </p:sp>
      <p:sp>
        <p:nvSpPr>
          <p:cNvPr id="12" name="Text Placeholder 11">
            <a:extLst>
              <a:ext uri="{FF2B5EF4-FFF2-40B4-BE49-F238E27FC236}">
                <a16:creationId xmlns:a16="http://schemas.microsoft.com/office/drawing/2014/main" id="{F43EBFC2-D56E-6448-9281-C0A28036B540}"/>
              </a:ext>
            </a:extLst>
          </p:cNvPr>
          <p:cNvSpPr>
            <a:spLocks noGrp="1"/>
          </p:cNvSpPr>
          <p:nvPr>
            <p:ph type="body" sz="quarter" idx="42"/>
          </p:nvPr>
        </p:nvSpPr>
        <p:spPr>
          <a:xfrm>
            <a:off x="2686116" y="2061316"/>
            <a:ext cx="1620000" cy="2108782"/>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Application Lifecycle Management &amp; DevOps us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Employees taking care of those apps and flows seen as business critical </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They setup and supporting environments for development and testing purposes. </a:t>
            </a:r>
            <a:endParaRPr lang="en-GB" b="0" dirty="0">
              <a:solidFill>
                <a:srgbClr val="742772"/>
              </a:solidFill>
              <a:latin typeface="Segoe UI Semibold" panose="020B0702040204020203" pitchFamily="34" charset="0"/>
              <a:ea typeface="Segoe UI" pitchFamily="34" charset="0"/>
              <a:cs typeface="Segoe UI Semibold" panose="020B0702040204020203" pitchFamily="34" charset="0"/>
            </a:endParaRPr>
          </a:p>
        </p:txBody>
      </p:sp>
      <p:sp>
        <p:nvSpPr>
          <p:cNvPr id="24" name="Text Placeholder 12">
            <a:extLst>
              <a:ext uri="{FF2B5EF4-FFF2-40B4-BE49-F238E27FC236}">
                <a16:creationId xmlns:a16="http://schemas.microsoft.com/office/drawing/2014/main" id="{19EEBC5F-C5C0-2A49-934B-002BBAF27ED5}"/>
              </a:ext>
            </a:extLst>
          </p:cNvPr>
          <p:cNvSpPr>
            <a:spLocks noGrp="1"/>
          </p:cNvSpPr>
          <p:nvPr>
            <p:ph type="body" sz="quarter" idx="43"/>
          </p:nvPr>
        </p:nvSpPr>
        <p:spPr>
          <a:xfrm>
            <a:off x="4591669" y="2061316"/>
            <a:ext cx="1620000" cy="2832570"/>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IT-Department / Data Protection Officer</a:t>
            </a:r>
            <a:endParaRPr lang="en-GB" sz="1176" b="0" dirty="0">
              <a:latin typeface="Segoe UI Light" panose="020B0502040204020203" pitchFamily="34" charset="0"/>
              <a:cs typeface="Segoe UI Light" panose="020B0502040204020203" pitchFamily="34" charset="0"/>
            </a:endParaRP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Members of all departments related to a cloud platform service to operate, maintain and secure all platform related services + surrounding areas. </a:t>
            </a: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Responsible for operation wide data security and data loss prevention</a:t>
            </a:r>
          </a:p>
          <a:p>
            <a:pPr defTabSz="685577" fontAlgn="base">
              <a:spcAft>
                <a:spcPts val="441"/>
              </a:spcAft>
            </a:pPr>
            <a:endParaRPr lang="en-GB" sz="1176" b="0" dirty="0">
              <a:latin typeface="Segoe UI Light" panose="020B0502040204020203" pitchFamily="34" charset="0"/>
              <a:ea typeface="Segoe UI" pitchFamily="34" charset="0"/>
              <a:cs typeface="Segoe UI Light" panose="020B0502040204020203" pitchFamily="34" charset="0"/>
            </a:endParaRPr>
          </a:p>
        </p:txBody>
      </p:sp>
      <p:sp>
        <p:nvSpPr>
          <p:cNvPr id="5" name="people_23">
            <a:extLst>
              <a:ext uri="{FF2B5EF4-FFF2-40B4-BE49-F238E27FC236}">
                <a16:creationId xmlns:a16="http://schemas.microsoft.com/office/drawing/2014/main" id="{E6962681-D313-5941-BA1E-0C0D13D12CAC}"/>
              </a:ext>
              <a:ext uri="{C183D7F6-B498-43B3-948B-1728B52AA6E4}">
                <adec:decorative xmlns:adec="http://schemas.microsoft.com/office/drawing/2017/decorative" val="1"/>
              </a:ext>
            </a:extLst>
          </p:cNvPr>
          <p:cNvSpPr>
            <a:spLocks noChangeAspect="1" noEditPoints="1"/>
          </p:cNvSpPr>
          <p:nvPr/>
        </p:nvSpPr>
        <p:spPr bwMode="auto">
          <a:xfrm>
            <a:off x="1765644" y="1427768"/>
            <a:ext cx="457550" cy="45270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pic>
        <p:nvPicPr>
          <p:cNvPr id="2" name="Picture 1">
            <a:extLst>
              <a:ext uri="{FF2B5EF4-FFF2-40B4-BE49-F238E27FC236}">
                <a16:creationId xmlns:a16="http://schemas.microsoft.com/office/drawing/2014/main" id="{C53E4F3B-D8ED-9B4C-BD3E-229C0005AA2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28675" y="1440631"/>
            <a:ext cx="532329" cy="434555"/>
          </a:xfrm>
          <a:prstGeom prst="rect">
            <a:avLst/>
          </a:prstGeom>
        </p:spPr>
      </p:pic>
      <p:sp>
        <p:nvSpPr>
          <p:cNvPr id="13" name="Text Placeholder 6">
            <a:extLst>
              <a:ext uri="{FF2B5EF4-FFF2-40B4-BE49-F238E27FC236}">
                <a16:creationId xmlns:a16="http://schemas.microsoft.com/office/drawing/2014/main" id="{B6ECA204-B924-4EC4-8A71-655B6B6B51D1}"/>
              </a:ext>
              <a:ext uri="{C183D7F6-B498-43B3-948B-1728B52AA6E4}">
                <adec:decorative xmlns:adec="http://schemas.microsoft.com/office/drawing/2017/decorative" val="1"/>
              </a:ext>
            </a:extLst>
          </p:cNvPr>
          <p:cNvSpPr txBox="1">
            <a:spLocks/>
          </p:cNvSpPr>
          <p:nvPr/>
        </p:nvSpPr>
        <p:spPr>
          <a:xfrm>
            <a:off x="7214944" y="1068958"/>
            <a:ext cx="1844285" cy="203774"/>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577" fontAlgn="base">
              <a:lnSpc>
                <a:spcPct val="100000"/>
              </a:lnSpc>
              <a:spcAft>
                <a:spcPts val="441"/>
              </a:spcAft>
              <a:defRPr/>
            </a:pPr>
            <a:r>
              <a:rPr lang="en-GB" sz="1029" dirty="0">
                <a:latin typeface="Segoe UI Light" panose="020B0502040204020203" pitchFamily="34" charset="0"/>
                <a:cs typeface="Segoe UI Light" panose="020B0502040204020203" pitchFamily="34" charset="0"/>
              </a:rPr>
              <a:t> </a:t>
            </a:r>
            <a:r>
              <a:rPr lang="en-US" sz="1324" b="1" dirty="0">
                <a:solidFill>
                  <a:srgbClr val="742673"/>
                </a:solidFill>
                <a:latin typeface="Segoe UI Semibold" panose="020B0502040204020203" pitchFamily="34" charset="0"/>
                <a:cs typeface="Segoe UI Semibold" panose="020B0502040204020203" pitchFamily="34" charset="0"/>
              </a:rPr>
              <a:t> </a:t>
            </a:r>
          </a:p>
        </p:txBody>
      </p:sp>
      <p:sp>
        <p:nvSpPr>
          <p:cNvPr id="14" name="Text Placeholder 12">
            <a:extLst>
              <a:ext uri="{FF2B5EF4-FFF2-40B4-BE49-F238E27FC236}">
                <a16:creationId xmlns:a16="http://schemas.microsoft.com/office/drawing/2014/main" id="{502382F2-CF66-4C62-8423-EFAC99695901}"/>
              </a:ext>
            </a:extLst>
          </p:cNvPr>
          <p:cNvSpPr txBox="1">
            <a:spLocks/>
          </p:cNvSpPr>
          <p:nvPr/>
        </p:nvSpPr>
        <p:spPr>
          <a:xfrm>
            <a:off x="6497222" y="2061316"/>
            <a:ext cx="1620000" cy="269432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99220" fontAlgn="base">
              <a:spcBef>
                <a:spcPts val="882"/>
              </a:spcBef>
              <a:spcAft>
                <a:spcPts val="0"/>
              </a:spcAft>
              <a:defRPr/>
            </a:pP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Support &amp; Training</a:t>
            </a:r>
            <a:b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b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Engineers</a:t>
            </a:r>
            <a:endParaRPr lang="en-GB" sz="1176" b="0" dirty="0">
              <a:solidFill>
                <a:srgbClr val="282828"/>
              </a:solidFill>
              <a:latin typeface="Segoe UI Light" panose="020B0502040204020203" pitchFamily="34" charset="0"/>
              <a:cs typeface="Segoe UI Light" panose="020B0502040204020203" pitchFamily="34" charset="0"/>
            </a:endParaRPr>
          </a:p>
          <a:p>
            <a:pPr defTabSz="685577" fontAlgn="base">
              <a:spcBef>
                <a:spcPts val="882"/>
              </a:spcBef>
              <a:spcAft>
                <a:spcPts val="0"/>
              </a:spcAft>
              <a:defRPr/>
            </a:pPr>
            <a:r>
              <a:rPr lang="en-GB" sz="1176" b="0" dirty="0">
                <a:solidFill>
                  <a:srgbClr val="282828"/>
                </a:solidFill>
                <a:latin typeface="Segoe UI Light" panose="020B0502040204020203" pitchFamily="34" charset="0"/>
                <a:cs typeface="Segoe UI Light" panose="020B0502040204020203" pitchFamily="34" charset="0"/>
              </a:rPr>
              <a:t>Help maintain app support across organization for business critical (line-of-business) apps. </a:t>
            </a:r>
            <a:br>
              <a:rPr lang="en-GB" sz="1176" b="0" dirty="0">
                <a:solidFill>
                  <a:srgbClr val="282828"/>
                </a:solidFill>
                <a:latin typeface="Segoe UI Light" panose="020B0502040204020203" pitchFamily="34" charset="0"/>
                <a:cs typeface="Segoe UI Light" panose="020B0502040204020203" pitchFamily="34" charset="0"/>
              </a:rPr>
            </a:br>
            <a:br>
              <a:rPr lang="en-GB" sz="1176" b="0" dirty="0">
                <a:solidFill>
                  <a:srgbClr val="282828"/>
                </a:solidFill>
                <a:latin typeface="Segoe UI Light" panose="020B0502040204020203" pitchFamily="34" charset="0"/>
                <a:cs typeface="Segoe UI Light" panose="020B0502040204020203" pitchFamily="34" charset="0"/>
              </a:rPr>
            </a:br>
            <a:r>
              <a:rPr lang="en-GB" sz="1176" b="0" dirty="0">
                <a:solidFill>
                  <a:srgbClr val="282828"/>
                </a:solidFill>
                <a:latin typeface="Segoe UI Light" panose="020B0502040204020203" pitchFamily="34" charset="0"/>
                <a:cs typeface="Segoe UI Light" panose="020B0502040204020203" pitchFamily="34" charset="0"/>
              </a:rPr>
              <a:t>Support nurturing a low-code platform by ensuring readiness and community wide shared skills inside an organization</a:t>
            </a:r>
          </a:p>
        </p:txBody>
      </p:sp>
      <p:sp>
        <p:nvSpPr>
          <p:cNvPr id="15" name="Telemarketer_E7B9">
            <a:extLst>
              <a:ext uri="{FF2B5EF4-FFF2-40B4-BE49-F238E27FC236}">
                <a16:creationId xmlns:a16="http://schemas.microsoft.com/office/drawing/2014/main" id="{D9C31686-83E6-4C44-B1E5-88FDE701968C}"/>
              </a:ext>
              <a:ext uri="{C183D7F6-B498-43B3-948B-1728B52AA6E4}">
                <adec:decorative xmlns:adec="http://schemas.microsoft.com/office/drawing/2017/decorative" val="1"/>
              </a:ext>
            </a:extLst>
          </p:cNvPr>
          <p:cNvSpPr>
            <a:spLocks noChangeAspect="1" noEditPoints="1"/>
          </p:cNvSpPr>
          <p:nvPr/>
        </p:nvSpPr>
        <p:spPr bwMode="auto">
          <a:xfrm>
            <a:off x="7173498" y="1561738"/>
            <a:ext cx="268928" cy="320731"/>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sp>
        <p:nvSpPr>
          <p:cNvPr id="16" name="globe_2">
            <a:extLst>
              <a:ext uri="{FF2B5EF4-FFF2-40B4-BE49-F238E27FC236}">
                <a16:creationId xmlns:a16="http://schemas.microsoft.com/office/drawing/2014/main" id="{3BB99F81-D82B-4712-B742-342E0445CD9E}"/>
              </a:ext>
              <a:ext uri="{C183D7F6-B498-43B3-948B-1728B52AA6E4}">
                <adec:decorative xmlns:adec="http://schemas.microsoft.com/office/drawing/2017/decorative" val="1"/>
              </a:ext>
            </a:extLst>
          </p:cNvPr>
          <p:cNvSpPr>
            <a:spLocks noChangeAspect="1" noEditPoints="1"/>
          </p:cNvSpPr>
          <p:nvPr/>
        </p:nvSpPr>
        <p:spPr bwMode="auto">
          <a:xfrm>
            <a:off x="7482169" y="1426786"/>
            <a:ext cx="268928" cy="26892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662" dirty="0">
              <a:solidFill>
                <a:srgbClr val="FFFFFF"/>
              </a:solidFill>
              <a:latin typeface="Segoe UI"/>
            </a:endParaRPr>
          </a:p>
        </p:txBody>
      </p:sp>
      <p:grpSp>
        <p:nvGrpSpPr>
          <p:cNvPr id="17" name="Group 10">
            <a:extLst>
              <a:ext uri="{FF2B5EF4-FFF2-40B4-BE49-F238E27FC236}">
                <a16:creationId xmlns:a16="http://schemas.microsoft.com/office/drawing/2014/main" id="{704CFE9E-1193-408C-BEE1-5466A0D03974}"/>
              </a:ext>
              <a:ext uri="{C183D7F6-B498-43B3-948B-1728B52AA6E4}">
                <adec:decorative xmlns:adec="http://schemas.microsoft.com/office/drawing/2017/decorative" val="1"/>
              </a:ext>
            </a:extLst>
          </p:cNvPr>
          <p:cNvGrpSpPr/>
          <p:nvPr/>
        </p:nvGrpSpPr>
        <p:grpSpPr>
          <a:xfrm>
            <a:off x="5166487" y="1430744"/>
            <a:ext cx="389498" cy="449732"/>
            <a:chOff x="2212294" y="5133291"/>
            <a:chExt cx="457200" cy="527904"/>
          </a:xfrm>
        </p:grpSpPr>
        <p:sp>
          <p:nvSpPr>
            <p:cNvPr id="18" name="boy" title="Icon of a man">
              <a:extLst>
                <a:ext uri="{FF2B5EF4-FFF2-40B4-BE49-F238E27FC236}">
                  <a16:creationId xmlns:a16="http://schemas.microsoft.com/office/drawing/2014/main" id="{FB781E50-292E-43BF-9EDE-802EBFE6EA26}"/>
                </a:ext>
              </a:extLst>
            </p:cNvPr>
            <p:cNvSpPr>
              <a:spLocks noChangeAspect="1" noEditPoints="1"/>
            </p:cNvSpPr>
            <p:nvPr/>
          </p:nvSpPr>
          <p:spPr bwMode="auto">
            <a:xfrm>
              <a:off x="2300388" y="5133291"/>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99516">
                <a:defRPr/>
              </a:pPr>
              <a:endParaRPr lang="en-US" sz="1377" dirty="0">
                <a:solidFill>
                  <a:srgbClr val="282828"/>
                </a:solidFill>
                <a:latin typeface="Segoe UI"/>
              </a:endParaRPr>
            </a:p>
          </p:txBody>
        </p:sp>
        <p:sp>
          <p:nvSpPr>
            <p:cNvPr id="19" name="Laptop_E770" title="Icon of a laptop">
              <a:extLst>
                <a:ext uri="{FF2B5EF4-FFF2-40B4-BE49-F238E27FC236}">
                  <a16:creationId xmlns:a16="http://schemas.microsoft.com/office/drawing/2014/main" id="{8037502B-36EB-4564-9B70-73477BEA9B30}"/>
                </a:ext>
              </a:extLst>
            </p:cNvPr>
            <p:cNvSpPr>
              <a:spLocks noChangeAspect="1" noEditPoints="1"/>
            </p:cNvSpPr>
            <p:nvPr/>
          </p:nvSpPr>
          <p:spPr bwMode="auto">
            <a:xfrm>
              <a:off x="2212294" y="5423924"/>
              <a:ext cx="457200" cy="2372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2F2F2"/>
            </a:solid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7769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AD2B9-CC8C-4940-850B-44B8D1D007D7}"/>
              </a:ext>
            </a:extLst>
          </p:cNvPr>
          <p:cNvSpPr>
            <a:spLocks noGrp="1"/>
          </p:cNvSpPr>
          <p:nvPr>
            <p:ph type="title"/>
          </p:nvPr>
        </p:nvSpPr>
        <p:spPr/>
        <p:txBody>
          <a:bodyPr/>
          <a:lstStyle/>
          <a:p>
            <a:r>
              <a:rPr lang="en-GB" dirty="0"/>
              <a:t>DLP Strategy</a:t>
            </a:r>
          </a:p>
        </p:txBody>
      </p:sp>
      <p:pic>
        <p:nvPicPr>
          <p:cNvPr id="1026" name="Picture 2" descr="How Contoso set up their DLP policy">
            <a:extLst>
              <a:ext uri="{FF2B5EF4-FFF2-40B4-BE49-F238E27FC236}">
                <a16:creationId xmlns:a16="http://schemas.microsoft.com/office/drawing/2014/main" id="{3605AFB9-93F5-4891-B407-AD85101120E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922" y="938742"/>
            <a:ext cx="9144000" cy="399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37595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6E223E-8BEC-417D-B82C-3A6F6D98BF65}"/>
              </a:ext>
            </a:extLst>
          </p:cNvPr>
          <p:cNvSpPr>
            <a:spLocks noGrp="1"/>
          </p:cNvSpPr>
          <p:nvPr>
            <p:ph type="title"/>
          </p:nvPr>
        </p:nvSpPr>
        <p:spPr>
          <a:xfrm>
            <a:off x="366808" y="171451"/>
            <a:ext cx="8472313" cy="498598"/>
          </a:xfrm>
        </p:spPr>
        <p:txBody>
          <a:bodyPr/>
          <a:lstStyle/>
          <a:p>
            <a:r>
              <a:rPr lang="en-US" sz="2060" dirty="0"/>
              <a:t>Things to consider with data policies</a:t>
            </a:r>
          </a:p>
        </p:txBody>
      </p:sp>
      <p:sp>
        <p:nvSpPr>
          <p:cNvPr id="6" name="Content Placeholder 5">
            <a:extLst>
              <a:ext uri="{FF2B5EF4-FFF2-40B4-BE49-F238E27FC236}">
                <a16:creationId xmlns:a16="http://schemas.microsoft.com/office/drawing/2014/main" id="{4479CD6E-05FD-4ADE-A765-8E76ED050E0C}"/>
              </a:ext>
            </a:extLst>
          </p:cNvPr>
          <p:cNvSpPr>
            <a:spLocks noGrp="1"/>
          </p:cNvSpPr>
          <p:nvPr>
            <p:ph idx="1"/>
          </p:nvPr>
        </p:nvSpPr>
        <p:spPr>
          <a:xfrm>
            <a:off x="370750" y="915566"/>
            <a:ext cx="8773250" cy="2616101"/>
          </a:xfrm>
        </p:spPr>
        <p:txBody>
          <a:bodyPr/>
          <a:lstStyle/>
          <a:p>
            <a:r>
              <a:rPr lang="en-US" sz="2000" dirty="0">
                <a:latin typeface="Segoe UI Light" panose="020B0502040204020203" pitchFamily="34" charset="0"/>
                <a:cs typeface="Segoe UI Light" panose="020B0502040204020203" pitchFamily="34" charset="0"/>
              </a:rPr>
              <a:t>Good to establish default policy early on and then grant exceptions</a:t>
            </a:r>
          </a:p>
          <a:p>
            <a:r>
              <a:rPr lang="en-US" sz="2000" dirty="0">
                <a:latin typeface="Segoe UI Light" panose="020B0502040204020203" pitchFamily="34" charset="0"/>
                <a:cs typeface="Segoe UI Light" panose="020B0502040204020203" pitchFamily="34" charset="0"/>
              </a:rPr>
              <a:t>New/updated restrictions can disable existing apps and flows</a:t>
            </a:r>
          </a:p>
          <a:p>
            <a:r>
              <a:rPr lang="en-US" sz="2000" dirty="0">
                <a:latin typeface="Segoe UI Light" panose="020B0502040204020203" pitchFamily="34" charset="0"/>
                <a:cs typeface="Segoe UI Light" panose="020B0502040204020203" pitchFamily="34" charset="0"/>
              </a:rPr>
              <a:t>Changes can take a few minutes to take effect</a:t>
            </a:r>
          </a:p>
          <a:p>
            <a:r>
              <a:rPr lang="en-US" sz="2000" dirty="0">
                <a:latin typeface="Segoe UI Light" panose="020B0502040204020203" pitchFamily="34" charset="0"/>
                <a:cs typeface="Segoe UI Light" panose="020B0502040204020203" pitchFamily="34" charset="0"/>
              </a:rPr>
              <a:t>Policies can’t be applied at the user level only at the environment</a:t>
            </a:r>
          </a:p>
          <a:p>
            <a:r>
              <a:rPr lang="en-US" sz="2000" dirty="0">
                <a:latin typeface="Segoe UI Light" panose="020B0502040204020203" pitchFamily="34" charset="0"/>
                <a:cs typeface="Segoe UI Light" panose="020B0502040204020203" pitchFamily="34" charset="0"/>
              </a:rPr>
              <a:t>PowerShell and admin connectors can manage policies </a:t>
            </a:r>
          </a:p>
          <a:p>
            <a:r>
              <a:rPr lang="en-US" sz="2000" dirty="0">
                <a:latin typeface="Segoe UI Light" panose="020B0502040204020203" pitchFamily="34" charset="0"/>
                <a:cs typeface="Segoe UI Light" panose="020B0502040204020203" pitchFamily="34" charset="0"/>
              </a:rPr>
              <a:t>Users of resources in environments can view policies that apply</a:t>
            </a:r>
            <a:endParaRPr lang="en-US" sz="1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3704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Dataverse securit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5</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04628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solidFill>
                  <a:latin typeface="Segoe UI"/>
                </a:rPr>
                <a:t>Dar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01582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C6734F9-2F3F-4C37-B23D-7266FDA06FC5}"/>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BE99BF2-E377-4D0E-ACEC-E378093B69FA}"/>
              </a:ext>
            </a:extLst>
          </p:cNvPr>
          <p:cNvSpPr>
            <a:spLocks noGrp="1"/>
          </p:cNvSpPr>
          <p:nvPr>
            <p:ph type="title"/>
          </p:nvPr>
        </p:nvSpPr>
        <p:spPr>
          <a:xfrm>
            <a:off x="314197" y="505460"/>
            <a:ext cx="8263890" cy="323165"/>
          </a:xfrm>
        </p:spPr>
        <p:txBody>
          <a:bodyPr/>
          <a:lstStyle/>
          <a:p>
            <a:r>
              <a:rPr lang="en-US" sz="2100">
                <a:solidFill>
                  <a:schemeClr val="bg1"/>
                </a:solidFill>
              </a:rPr>
              <a:t>Security Roles and Privileges</a:t>
            </a:r>
          </a:p>
        </p:txBody>
      </p:sp>
      <p:sp>
        <p:nvSpPr>
          <p:cNvPr id="3" name="Content Placeholder 2">
            <a:extLst>
              <a:ext uri="{FF2B5EF4-FFF2-40B4-BE49-F238E27FC236}">
                <a16:creationId xmlns:a16="http://schemas.microsoft.com/office/drawing/2014/main" id="{2A7FAC2C-9E19-43D7-B49A-F0FD6428E13B}"/>
              </a:ext>
            </a:extLst>
          </p:cNvPr>
          <p:cNvSpPr>
            <a:spLocks noGrp="1"/>
          </p:cNvSpPr>
          <p:nvPr>
            <p:ph sz="quarter" idx="12"/>
          </p:nvPr>
        </p:nvSpPr>
        <p:spPr>
          <a:xfrm>
            <a:off x="351790" y="1848485"/>
            <a:ext cx="3908822" cy="2398092"/>
          </a:xfrm>
          <a:ln>
            <a:noFill/>
          </a:ln>
        </p:spPr>
        <p:txBody>
          <a:bodyPr/>
          <a:lstStyle/>
          <a:p>
            <a:pPr>
              <a:spcBef>
                <a:spcPts val="450"/>
              </a:spcBef>
            </a:pPr>
            <a:r>
              <a:rPr lang="en-US" sz="1800" b="1"/>
              <a:t>Roles</a:t>
            </a:r>
            <a:endParaRPr lang="en-US" sz="1500" b="1"/>
          </a:p>
          <a:p>
            <a:pPr>
              <a:spcBef>
                <a:spcPts val="450"/>
              </a:spcBef>
            </a:pPr>
            <a:r>
              <a:rPr lang="en-US" sz="1500"/>
              <a:t>Define how different users access different types of records</a:t>
            </a:r>
          </a:p>
          <a:p>
            <a:pPr>
              <a:spcBef>
                <a:spcPts val="450"/>
              </a:spcBef>
            </a:pPr>
            <a:r>
              <a:rPr lang="en-US" sz="1500"/>
              <a:t>Contain a set of privileges</a:t>
            </a:r>
          </a:p>
          <a:p>
            <a:pPr>
              <a:spcBef>
                <a:spcPts val="450"/>
              </a:spcBef>
            </a:pPr>
            <a:r>
              <a:rPr lang="en-US" sz="1500"/>
              <a:t>Users can be assigned to multiple security roles</a:t>
            </a:r>
          </a:p>
          <a:p>
            <a:pPr>
              <a:spcBef>
                <a:spcPts val="450"/>
              </a:spcBef>
            </a:pPr>
            <a:r>
              <a:rPr lang="en-US" sz="1500"/>
              <a:t>Security role privileges are cumulative</a:t>
            </a:r>
          </a:p>
          <a:p>
            <a:pPr>
              <a:spcBef>
                <a:spcPts val="450"/>
              </a:spcBef>
            </a:pPr>
            <a:endParaRPr lang="en-US" sz="1500"/>
          </a:p>
        </p:txBody>
      </p:sp>
      <p:sp>
        <p:nvSpPr>
          <p:cNvPr id="4" name="Content Placeholder 3">
            <a:extLst>
              <a:ext uri="{FF2B5EF4-FFF2-40B4-BE49-F238E27FC236}">
                <a16:creationId xmlns:a16="http://schemas.microsoft.com/office/drawing/2014/main" id="{8B11D1D0-90DD-4E39-9BB7-4E1059E5216C}"/>
              </a:ext>
            </a:extLst>
          </p:cNvPr>
          <p:cNvSpPr>
            <a:spLocks noGrp="1"/>
          </p:cNvSpPr>
          <p:nvPr>
            <p:ph sz="quarter" idx="13"/>
          </p:nvPr>
        </p:nvSpPr>
        <p:spPr>
          <a:xfrm>
            <a:off x="4804588" y="1284606"/>
            <a:ext cx="3914775" cy="2945422"/>
          </a:xfrm>
          <a:ln>
            <a:noFill/>
          </a:ln>
        </p:spPr>
        <p:txBody>
          <a:bodyPr/>
          <a:lstStyle/>
          <a:p>
            <a:pPr>
              <a:spcBef>
                <a:spcPts val="450"/>
              </a:spcBef>
            </a:pPr>
            <a:r>
              <a:rPr lang="en-US" sz="1800" b="1" dirty="0"/>
              <a:t>Privileges</a:t>
            </a:r>
            <a:endParaRPr lang="en-US" sz="1500" b="1" dirty="0"/>
          </a:p>
          <a:p>
            <a:pPr>
              <a:spcBef>
                <a:spcPts val="450"/>
              </a:spcBef>
            </a:pPr>
            <a:r>
              <a:rPr lang="en-US" sz="1500" dirty="0"/>
              <a:t>Record-level privileges.</a:t>
            </a:r>
          </a:p>
          <a:p>
            <a:pPr lvl="1">
              <a:spcBef>
                <a:spcPts val="450"/>
              </a:spcBef>
            </a:pPr>
            <a:r>
              <a:rPr lang="en-US" sz="1200" dirty="0"/>
              <a:t>For each entity, permissions can be defined for Read, Create, Delete, Write, Assign, Share, Append and Append To.</a:t>
            </a:r>
          </a:p>
          <a:p>
            <a:pPr>
              <a:spcBef>
                <a:spcPts val="450"/>
              </a:spcBef>
            </a:pPr>
            <a:r>
              <a:rPr lang="en-US" sz="1500" dirty="0"/>
              <a:t>Action/Task-based privileges.</a:t>
            </a:r>
          </a:p>
          <a:p>
            <a:pPr lvl="1">
              <a:spcBef>
                <a:spcPts val="450"/>
              </a:spcBef>
            </a:pPr>
            <a:r>
              <a:rPr lang="en-US" sz="1200" dirty="0"/>
              <a:t>Permissions can also be defined for non-entity related actions, e.g., publish articles.</a:t>
            </a:r>
          </a:p>
          <a:p>
            <a:pPr>
              <a:spcBef>
                <a:spcPts val="450"/>
              </a:spcBef>
            </a:pPr>
            <a:r>
              <a:rPr lang="en-US" sz="1500" dirty="0"/>
              <a:t>Different level of accesses:</a:t>
            </a:r>
          </a:p>
          <a:p>
            <a:pPr lvl="1">
              <a:spcBef>
                <a:spcPts val="450"/>
              </a:spcBef>
            </a:pPr>
            <a:r>
              <a:rPr lang="en-US" sz="1200" dirty="0"/>
              <a:t>Global</a:t>
            </a:r>
          </a:p>
          <a:p>
            <a:pPr lvl="1">
              <a:spcBef>
                <a:spcPts val="450"/>
              </a:spcBef>
            </a:pPr>
            <a:r>
              <a:rPr lang="en-US" sz="1200" dirty="0"/>
              <a:t>Deep</a:t>
            </a:r>
          </a:p>
          <a:p>
            <a:pPr lvl="1">
              <a:spcBef>
                <a:spcPts val="450"/>
              </a:spcBef>
            </a:pPr>
            <a:r>
              <a:rPr lang="en-US" sz="1200" dirty="0"/>
              <a:t>Local</a:t>
            </a:r>
          </a:p>
          <a:p>
            <a:pPr lvl="1">
              <a:spcBef>
                <a:spcPts val="450"/>
              </a:spcBef>
            </a:pPr>
            <a:r>
              <a:rPr lang="en-US" sz="1200" dirty="0"/>
              <a:t>Basic </a:t>
            </a:r>
          </a:p>
        </p:txBody>
      </p:sp>
      <p:grpSp>
        <p:nvGrpSpPr>
          <p:cNvPr id="10" name="Group 9">
            <a:extLst>
              <a:ext uri="{FF2B5EF4-FFF2-40B4-BE49-F238E27FC236}">
                <a16:creationId xmlns:a16="http://schemas.microsoft.com/office/drawing/2014/main" id="{C3D5DFFB-6861-494B-93C8-C16763ABD780}"/>
              </a:ext>
            </a:extLst>
          </p:cNvPr>
          <p:cNvGrpSpPr/>
          <p:nvPr/>
        </p:nvGrpSpPr>
        <p:grpSpPr>
          <a:xfrm>
            <a:off x="8025245" y="-310978"/>
            <a:ext cx="1667349" cy="1376624"/>
            <a:chOff x="10308253" y="-1239842"/>
            <a:chExt cx="2954665" cy="2439479"/>
          </a:xfrm>
        </p:grpSpPr>
        <p:sp>
          <p:nvSpPr>
            <p:cNvPr id="8" name="Hexagon 7">
              <a:extLst>
                <a:ext uri="{FF2B5EF4-FFF2-40B4-BE49-F238E27FC236}">
                  <a16:creationId xmlns:a16="http://schemas.microsoft.com/office/drawing/2014/main" id="{B4ED95FE-6665-4A42-BBE6-5124B3B40CD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 name="Hexagon 8">
              <a:extLst>
                <a:ext uri="{FF2B5EF4-FFF2-40B4-BE49-F238E27FC236}">
                  <a16:creationId xmlns:a16="http://schemas.microsoft.com/office/drawing/2014/main" id="{C0C03344-7E6F-4B1A-96E9-0A9947F90D8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3015242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F539A2D-9CE6-4690-B490-A6BA767D8D9E}"/>
              </a:ext>
            </a:extLst>
          </p:cNvPr>
          <p:cNvSpPr/>
          <p:nvPr/>
        </p:nvSpPr>
        <p:spPr bwMode="auto">
          <a:xfrm>
            <a:off x="1" y="366"/>
            <a:ext cx="4804587" cy="949595"/>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C434B5FE-F698-4759-923F-77096D0A0E8D}"/>
              </a:ext>
            </a:extLst>
          </p:cNvPr>
          <p:cNvGrpSpPr/>
          <p:nvPr/>
        </p:nvGrpSpPr>
        <p:grpSpPr>
          <a:xfrm>
            <a:off x="8025245" y="-310978"/>
            <a:ext cx="1667349" cy="1376624"/>
            <a:chOff x="10308253" y="-1239842"/>
            <a:chExt cx="2954665" cy="2439479"/>
          </a:xfrm>
        </p:grpSpPr>
        <p:sp>
          <p:nvSpPr>
            <p:cNvPr id="19" name="Hexagon 18">
              <a:extLst>
                <a:ext uri="{FF2B5EF4-FFF2-40B4-BE49-F238E27FC236}">
                  <a16:creationId xmlns:a16="http://schemas.microsoft.com/office/drawing/2014/main" id="{1ACB4CF2-82DD-44E6-9123-DD834DDFC1E0}"/>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 name="Hexagon 19">
              <a:extLst>
                <a:ext uri="{FF2B5EF4-FFF2-40B4-BE49-F238E27FC236}">
                  <a16:creationId xmlns:a16="http://schemas.microsoft.com/office/drawing/2014/main" id="{0E08B4BB-4F8D-4D99-90A9-F9D704EAB37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9FFE074-91B7-4195-9DC3-304F00F5D1B9}"/>
              </a:ext>
            </a:extLst>
          </p:cNvPr>
          <p:cNvSpPr>
            <a:spLocks noGrp="1"/>
          </p:cNvSpPr>
          <p:nvPr>
            <p:ph type="title"/>
          </p:nvPr>
        </p:nvSpPr>
        <p:spPr>
          <a:xfrm>
            <a:off x="441197" y="342901"/>
            <a:ext cx="8263890" cy="323165"/>
          </a:xfrm>
        </p:spPr>
        <p:txBody>
          <a:bodyPr/>
          <a:lstStyle/>
          <a:p>
            <a:r>
              <a:rPr lang="en-US" sz="2100">
                <a:solidFill>
                  <a:schemeClr val="bg1"/>
                </a:solidFill>
              </a:rPr>
              <a:t>Record-level security</a:t>
            </a:r>
          </a:p>
        </p:txBody>
      </p:sp>
      <p:sp>
        <p:nvSpPr>
          <p:cNvPr id="3" name="Content Placeholder 2">
            <a:extLst>
              <a:ext uri="{FF2B5EF4-FFF2-40B4-BE49-F238E27FC236}">
                <a16:creationId xmlns:a16="http://schemas.microsoft.com/office/drawing/2014/main" id="{EF78BDCE-81A5-4BCC-9A12-D6DDE288C36F}"/>
              </a:ext>
            </a:extLst>
          </p:cNvPr>
          <p:cNvSpPr>
            <a:spLocks noGrp="1"/>
          </p:cNvSpPr>
          <p:nvPr>
            <p:ph sz="quarter" idx="12"/>
          </p:nvPr>
        </p:nvSpPr>
        <p:spPr>
          <a:xfrm>
            <a:off x="438151" y="1076325"/>
            <a:ext cx="3908822" cy="999504"/>
          </a:xfrm>
        </p:spPr>
        <p:txBody>
          <a:bodyPr/>
          <a:lstStyle/>
          <a:p>
            <a:r>
              <a:rPr lang="en-US" b="1"/>
              <a:t>Entity</a:t>
            </a:r>
          </a:p>
          <a:p>
            <a:endParaRPr lang="en-US" b="1"/>
          </a:p>
          <a:p>
            <a:endParaRPr lang="en-US" b="1"/>
          </a:p>
        </p:txBody>
      </p:sp>
      <p:sp>
        <p:nvSpPr>
          <p:cNvPr id="4" name="Content Placeholder 3">
            <a:extLst>
              <a:ext uri="{FF2B5EF4-FFF2-40B4-BE49-F238E27FC236}">
                <a16:creationId xmlns:a16="http://schemas.microsoft.com/office/drawing/2014/main" id="{4F7E45D7-2A54-4AF2-826A-9FD183C1D3FC}"/>
              </a:ext>
            </a:extLst>
          </p:cNvPr>
          <p:cNvSpPr>
            <a:spLocks noGrp="1"/>
          </p:cNvSpPr>
          <p:nvPr>
            <p:ph sz="quarter" idx="13"/>
          </p:nvPr>
        </p:nvSpPr>
        <p:spPr>
          <a:xfrm>
            <a:off x="4775594" y="904063"/>
            <a:ext cx="3914775" cy="456279"/>
          </a:xfrm>
        </p:spPr>
        <p:txBody>
          <a:bodyPr/>
          <a:lstStyle/>
          <a:p>
            <a:r>
              <a:rPr lang="en-US" b="1"/>
              <a:t>Access Level</a:t>
            </a:r>
          </a:p>
        </p:txBody>
      </p:sp>
      <p:graphicFrame>
        <p:nvGraphicFramePr>
          <p:cNvPr id="5" name="Table 4">
            <a:extLst>
              <a:ext uri="{FF2B5EF4-FFF2-40B4-BE49-F238E27FC236}">
                <a16:creationId xmlns:a16="http://schemas.microsoft.com/office/drawing/2014/main" id="{ED66A9DB-48BB-4CEC-B4C1-C651B007BAA7}"/>
              </a:ext>
            </a:extLst>
          </p:cNvPr>
          <p:cNvGraphicFramePr>
            <a:graphicFrameLocks noGrp="1"/>
          </p:cNvGraphicFramePr>
          <p:nvPr/>
        </p:nvGraphicFramePr>
        <p:xfrm>
          <a:off x="457408" y="1491471"/>
          <a:ext cx="4013711" cy="3397757"/>
        </p:xfrm>
        <a:graphic>
          <a:graphicData uri="http://schemas.openxmlformats.org/drawingml/2006/table">
            <a:tbl>
              <a:tblPr>
                <a:tableStyleId>{72833802-FEF1-4C79-8D5D-14CF1EAF98D9}</a:tableStyleId>
              </a:tblPr>
              <a:tblGrid>
                <a:gridCol w="806195">
                  <a:extLst>
                    <a:ext uri="{9D8B030D-6E8A-4147-A177-3AD203B41FA5}">
                      <a16:colId xmlns:a16="http://schemas.microsoft.com/office/drawing/2014/main" val="278748862"/>
                    </a:ext>
                  </a:extLst>
                </a:gridCol>
                <a:gridCol w="3207516">
                  <a:extLst>
                    <a:ext uri="{9D8B030D-6E8A-4147-A177-3AD203B41FA5}">
                      <a16:colId xmlns:a16="http://schemas.microsoft.com/office/drawing/2014/main" val="542871060"/>
                    </a:ext>
                  </a:extLst>
                </a:gridCol>
              </a:tblGrid>
              <a:tr h="150621">
                <a:tc>
                  <a:txBody>
                    <a:bodyPr/>
                    <a:lstStyle/>
                    <a:p>
                      <a:pPr algn="l" fontAlgn="b"/>
                      <a:r>
                        <a:rPr lang="en-US" sz="800">
                          <a:solidFill>
                            <a:schemeClr val="bg1"/>
                          </a:solidFill>
                          <a:effectLst/>
                        </a:rPr>
                        <a:t>Privilege</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3845848262"/>
                  </a:ext>
                </a:extLst>
              </a:tr>
              <a:tr h="264921">
                <a:tc>
                  <a:txBody>
                    <a:bodyPr/>
                    <a:lstStyle/>
                    <a:p>
                      <a:pPr algn="l" fontAlgn="t"/>
                      <a:r>
                        <a:rPr lang="en-US" sz="800" b="1">
                          <a:effectLst/>
                        </a:rPr>
                        <a:t>Create</a:t>
                      </a:r>
                      <a:endParaRPr lang="en-US" sz="800">
                        <a:effectLst/>
                      </a:endParaRPr>
                    </a:p>
                  </a:txBody>
                  <a:tcPr marL="16594" marR="16594" marT="12446" marB="12446"/>
                </a:tc>
                <a:tc>
                  <a:txBody>
                    <a:bodyPr/>
                    <a:lstStyle/>
                    <a:p>
                      <a:pPr algn="l" fontAlgn="t"/>
                      <a:r>
                        <a:rPr lang="en-US" sz="800">
                          <a:effectLst/>
                        </a:rPr>
                        <a:t>Required to make a new record. Which records can be created depends on the access level of the permission defined in your security role.</a:t>
                      </a:r>
                    </a:p>
                  </a:txBody>
                  <a:tcPr marL="16594" marR="16594" marT="12446" marB="12446"/>
                </a:tc>
                <a:extLst>
                  <a:ext uri="{0D108BD9-81ED-4DB2-BD59-A6C34878D82A}">
                    <a16:rowId xmlns:a16="http://schemas.microsoft.com/office/drawing/2014/main" val="1710337426"/>
                  </a:ext>
                </a:extLst>
              </a:tr>
              <a:tr h="384936">
                <a:tc>
                  <a:txBody>
                    <a:bodyPr/>
                    <a:lstStyle/>
                    <a:p>
                      <a:pPr algn="l" fontAlgn="t"/>
                      <a:r>
                        <a:rPr lang="en-US" sz="800" b="1">
                          <a:effectLst/>
                        </a:rPr>
                        <a:t>Read</a:t>
                      </a:r>
                      <a:endParaRPr lang="en-US" sz="800">
                        <a:effectLst/>
                      </a:endParaRPr>
                    </a:p>
                  </a:txBody>
                  <a:tcPr marL="16594" marR="16594" marT="12446" marB="12446"/>
                </a:tc>
                <a:tc>
                  <a:txBody>
                    <a:bodyPr/>
                    <a:lstStyle/>
                    <a:p>
                      <a:pPr algn="l" fontAlgn="t"/>
                      <a:r>
                        <a:rPr lang="en-US" sz="800">
                          <a:effectLst/>
                        </a:rPr>
                        <a:t>Required to open a record to view the contents. Which records can be read depends on the access level of the permission defined in your security role.</a:t>
                      </a:r>
                    </a:p>
                  </a:txBody>
                  <a:tcPr marL="16594" marR="16594" marT="12446" marB="12446"/>
                </a:tc>
                <a:extLst>
                  <a:ext uri="{0D108BD9-81ED-4DB2-BD59-A6C34878D82A}">
                    <a16:rowId xmlns:a16="http://schemas.microsoft.com/office/drawing/2014/main" val="1339934164"/>
                  </a:ext>
                </a:extLst>
              </a:tr>
              <a:tr h="264921">
                <a:tc>
                  <a:txBody>
                    <a:bodyPr/>
                    <a:lstStyle/>
                    <a:p>
                      <a:pPr algn="l" fontAlgn="t"/>
                      <a:r>
                        <a:rPr lang="en-US" sz="800" b="1">
                          <a:effectLst/>
                        </a:rPr>
                        <a:t>Write</a:t>
                      </a:r>
                      <a:endParaRPr lang="en-US" sz="800">
                        <a:effectLst/>
                      </a:endParaRPr>
                    </a:p>
                  </a:txBody>
                  <a:tcPr marL="16594" marR="16594" marT="12446" marB="12446"/>
                </a:tc>
                <a:tc>
                  <a:txBody>
                    <a:bodyPr/>
                    <a:lstStyle/>
                    <a:p>
                      <a:pPr algn="l" fontAlgn="t"/>
                      <a:r>
                        <a:rPr lang="en-US" sz="800">
                          <a:effectLst/>
                        </a:rPr>
                        <a:t>Required to make changes to a record. Which records can be changed depends on the access level defined in your security role.</a:t>
                      </a:r>
                    </a:p>
                  </a:txBody>
                  <a:tcPr marL="16594" marR="16594" marT="12446" marB="12446"/>
                </a:tc>
                <a:extLst>
                  <a:ext uri="{0D108BD9-81ED-4DB2-BD59-A6C34878D82A}">
                    <a16:rowId xmlns:a16="http://schemas.microsoft.com/office/drawing/2014/main" val="1013495852"/>
                  </a:ext>
                </a:extLst>
              </a:tr>
              <a:tr h="384936">
                <a:tc>
                  <a:txBody>
                    <a:bodyPr/>
                    <a:lstStyle/>
                    <a:p>
                      <a:pPr algn="l" fontAlgn="t"/>
                      <a:r>
                        <a:rPr lang="en-US" sz="800" b="1">
                          <a:effectLst/>
                        </a:rPr>
                        <a:t>Delete</a:t>
                      </a:r>
                      <a:endParaRPr lang="en-US" sz="800">
                        <a:effectLst/>
                      </a:endParaRPr>
                    </a:p>
                  </a:txBody>
                  <a:tcPr marL="16594" marR="16594" marT="12446" marB="12446"/>
                </a:tc>
                <a:tc>
                  <a:txBody>
                    <a:bodyPr/>
                    <a:lstStyle/>
                    <a:p>
                      <a:pPr algn="l" fontAlgn="t"/>
                      <a:r>
                        <a:rPr lang="en-US" sz="800">
                          <a:effectLst/>
                        </a:rPr>
                        <a:t>Required to permanently remove a record. Which records can be deleted depends on the access level of the permission defined in your security role.</a:t>
                      </a:r>
                    </a:p>
                  </a:txBody>
                  <a:tcPr marL="16594" marR="16594" marT="12446" marB="12446"/>
                </a:tc>
                <a:extLst>
                  <a:ext uri="{0D108BD9-81ED-4DB2-BD59-A6C34878D82A}">
                    <a16:rowId xmlns:a16="http://schemas.microsoft.com/office/drawing/2014/main" val="2890931302"/>
                  </a:ext>
                </a:extLst>
              </a:tr>
              <a:tr h="504951">
                <a:tc>
                  <a:txBody>
                    <a:bodyPr/>
                    <a:lstStyle/>
                    <a:p>
                      <a:pPr algn="l" fontAlgn="t"/>
                      <a:r>
                        <a:rPr lang="en-US" sz="800" b="1">
                          <a:effectLst/>
                        </a:rPr>
                        <a:t>Append</a:t>
                      </a:r>
                      <a:endParaRPr lang="en-US" sz="800">
                        <a:effectLst/>
                      </a:endParaRPr>
                    </a:p>
                  </a:txBody>
                  <a:tcPr marL="16594" marR="16594" marT="12446" marB="12446"/>
                </a:tc>
                <a:tc>
                  <a:txBody>
                    <a:bodyPr/>
                    <a:lstStyle/>
                    <a:p>
                      <a:pPr algn="l" fontAlgn="t"/>
                      <a:r>
                        <a:rPr lang="en-US" sz="800">
                          <a:effectLst/>
                        </a:rPr>
                        <a:t>Required to associate a record with the current record. For example, if a user has Append rights on an opportunity, the user can add a note to an opportunity. Which records can be appended depends on the access level of the permission defined in your security role.</a:t>
                      </a:r>
                    </a:p>
                  </a:txBody>
                  <a:tcPr marL="16594" marR="16594" marT="12446" marB="12446"/>
                </a:tc>
                <a:extLst>
                  <a:ext uri="{0D108BD9-81ED-4DB2-BD59-A6C34878D82A}">
                    <a16:rowId xmlns:a16="http://schemas.microsoft.com/office/drawing/2014/main" val="524232170"/>
                  </a:ext>
                </a:extLst>
              </a:tr>
              <a:tr h="504951">
                <a:tc>
                  <a:txBody>
                    <a:bodyPr/>
                    <a:lstStyle/>
                    <a:p>
                      <a:pPr algn="l" fontAlgn="t"/>
                      <a:r>
                        <a:rPr lang="en-US" sz="800" b="1">
                          <a:effectLst/>
                        </a:rPr>
                        <a:t>Append To</a:t>
                      </a:r>
                      <a:endParaRPr lang="en-US" sz="800">
                        <a:effectLst/>
                      </a:endParaRPr>
                    </a:p>
                  </a:txBody>
                  <a:tcPr marL="16594" marR="16594" marT="12446" marB="12446"/>
                </a:tc>
                <a:tc>
                  <a:txBody>
                    <a:bodyPr/>
                    <a:lstStyle/>
                    <a:p>
                      <a:pPr algn="l" fontAlgn="t"/>
                      <a:r>
                        <a:rPr lang="en-US" sz="800">
                          <a:effectLst/>
                        </a:rPr>
                        <a:t>Required to associate the current record with another record e.g., a note can be attached to an opportunity if the user has Append To rights on the note. Which records can be appended to depends on the access level of the permission defined in your security role.</a:t>
                      </a:r>
                    </a:p>
                  </a:txBody>
                  <a:tcPr marL="16594" marR="16594" marT="12446" marB="12446"/>
                </a:tc>
                <a:extLst>
                  <a:ext uri="{0D108BD9-81ED-4DB2-BD59-A6C34878D82A}">
                    <a16:rowId xmlns:a16="http://schemas.microsoft.com/office/drawing/2014/main" val="2167542561"/>
                  </a:ext>
                </a:extLst>
              </a:tr>
              <a:tr h="384936">
                <a:tc>
                  <a:txBody>
                    <a:bodyPr/>
                    <a:lstStyle/>
                    <a:p>
                      <a:pPr algn="l" fontAlgn="t"/>
                      <a:r>
                        <a:rPr lang="en-US" sz="800" b="1">
                          <a:effectLst/>
                        </a:rPr>
                        <a:t>Assign</a:t>
                      </a:r>
                      <a:endParaRPr lang="en-US" sz="800">
                        <a:effectLst/>
                      </a:endParaRPr>
                    </a:p>
                  </a:txBody>
                  <a:tcPr marL="16594" marR="16594" marT="12446" marB="12446"/>
                </a:tc>
                <a:tc>
                  <a:txBody>
                    <a:bodyPr/>
                    <a:lstStyle/>
                    <a:p>
                      <a:pPr algn="l" fontAlgn="t"/>
                      <a:r>
                        <a:rPr lang="en-US" sz="800">
                          <a:effectLst/>
                        </a:rPr>
                        <a:t>Required to give ownership of a record to another user. Which records can be assigned depends on the access level of the permission defined in your security role.</a:t>
                      </a:r>
                    </a:p>
                  </a:txBody>
                  <a:tcPr marL="16594" marR="16594" marT="12446" marB="12446"/>
                </a:tc>
                <a:extLst>
                  <a:ext uri="{0D108BD9-81ED-4DB2-BD59-A6C34878D82A}">
                    <a16:rowId xmlns:a16="http://schemas.microsoft.com/office/drawing/2014/main" val="2704976452"/>
                  </a:ext>
                </a:extLst>
              </a:tr>
              <a:tr h="384936">
                <a:tc>
                  <a:txBody>
                    <a:bodyPr/>
                    <a:lstStyle/>
                    <a:p>
                      <a:pPr algn="l" fontAlgn="t"/>
                      <a:r>
                        <a:rPr lang="en-US" sz="800" b="1">
                          <a:effectLst/>
                        </a:rPr>
                        <a:t>Share</a:t>
                      </a:r>
                      <a:endParaRPr lang="en-US" sz="800">
                        <a:effectLst/>
                      </a:endParaRPr>
                    </a:p>
                  </a:txBody>
                  <a:tcPr marL="16594" marR="16594" marT="12446" marB="12446"/>
                </a:tc>
                <a:tc>
                  <a:txBody>
                    <a:bodyPr/>
                    <a:lstStyle/>
                    <a:p>
                      <a:pPr algn="l" fontAlgn="t"/>
                      <a:r>
                        <a:rPr lang="en-US" sz="800">
                          <a:effectLst/>
                        </a:rPr>
                        <a:t>Required to give access to a record to another user while keeping your own access. Which records can be shared depends on the access level of the permission defined in your security role.</a:t>
                      </a:r>
                    </a:p>
                  </a:txBody>
                  <a:tcPr marL="16594" marR="16594" marT="12446" marB="12446"/>
                </a:tc>
                <a:extLst>
                  <a:ext uri="{0D108BD9-81ED-4DB2-BD59-A6C34878D82A}">
                    <a16:rowId xmlns:a16="http://schemas.microsoft.com/office/drawing/2014/main" val="2161341098"/>
                  </a:ext>
                </a:extLst>
              </a:tr>
            </a:tbl>
          </a:graphicData>
        </a:graphic>
      </p:graphicFrame>
      <p:graphicFrame>
        <p:nvGraphicFramePr>
          <p:cNvPr id="6" name="Table 5">
            <a:extLst>
              <a:ext uri="{FF2B5EF4-FFF2-40B4-BE49-F238E27FC236}">
                <a16:creationId xmlns:a16="http://schemas.microsoft.com/office/drawing/2014/main" id="{92384756-66D4-4323-8C73-7376ADF10671}"/>
              </a:ext>
            </a:extLst>
          </p:cNvPr>
          <p:cNvGraphicFramePr>
            <a:graphicFrameLocks noGrp="1"/>
          </p:cNvGraphicFramePr>
          <p:nvPr/>
        </p:nvGraphicFramePr>
        <p:xfrm>
          <a:off x="4792266" y="1448134"/>
          <a:ext cx="4114800" cy="3380667"/>
        </p:xfrm>
        <a:graphic>
          <a:graphicData uri="http://schemas.openxmlformats.org/drawingml/2006/table">
            <a:tbl>
              <a:tblPr>
                <a:tableStyleId>{72833802-FEF1-4C79-8D5D-14CF1EAF98D9}</a:tableStyleId>
              </a:tblPr>
              <a:tblGrid>
                <a:gridCol w="526494">
                  <a:extLst>
                    <a:ext uri="{9D8B030D-6E8A-4147-A177-3AD203B41FA5}">
                      <a16:colId xmlns:a16="http://schemas.microsoft.com/office/drawing/2014/main" val="756707761"/>
                    </a:ext>
                  </a:extLst>
                </a:gridCol>
                <a:gridCol w="3588306">
                  <a:extLst>
                    <a:ext uri="{9D8B030D-6E8A-4147-A177-3AD203B41FA5}">
                      <a16:colId xmlns:a16="http://schemas.microsoft.com/office/drawing/2014/main" val="2751764815"/>
                    </a:ext>
                  </a:extLst>
                </a:gridCol>
              </a:tblGrid>
              <a:tr h="752615">
                <a:tc>
                  <a:txBody>
                    <a:bodyPr/>
                    <a:lstStyle/>
                    <a:p>
                      <a:pPr algn="l" fontAlgn="t"/>
                      <a:endParaRPr lang="en-US" sz="800">
                        <a:effectLst/>
                      </a:endParaRPr>
                    </a:p>
                  </a:txBody>
                  <a:tcPr marL="11722" marR="11722" marT="8792" marB="8792"/>
                </a:tc>
                <a:tc>
                  <a:txBody>
                    <a:bodyPr/>
                    <a:lstStyle/>
                    <a:p>
                      <a:pPr algn="l" fontAlgn="t"/>
                      <a:r>
                        <a:rPr lang="en-US" sz="800" b="1">
                          <a:effectLst/>
                        </a:rPr>
                        <a:t>Global</a:t>
                      </a:r>
                      <a:r>
                        <a:rPr lang="en-US" sz="800">
                          <a:effectLst/>
                        </a:rPr>
                        <a:t>. This access level gives a user access to all records in the organization, regardless of the business unit hierarchical level that the environment or the user belongs to. Users who have Global access automatically have Deep, Local, and Basic access.</a:t>
                      </a:r>
                    </a:p>
                    <a:p>
                      <a:pPr algn="l" fontAlgn="t"/>
                      <a:br>
                        <a:rPr lang="en-US" sz="800">
                          <a:effectLst/>
                        </a:rPr>
                      </a:br>
                      <a:r>
                        <a:rPr lang="en-US" sz="800">
                          <a:effectLst/>
                        </a:rPr>
                        <a:t>The application refers to this access level as </a:t>
                      </a:r>
                      <a:r>
                        <a:rPr lang="en-US" sz="800" b="1">
                          <a:effectLst/>
                        </a:rPr>
                        <a:t>Organization</a:t>
                      </a:r>
                      <a:r>
                        <a:rPr lang="en-US" sz="800">
                          <a:effectLst/>
                        </a:rPr>
                        <a:t>.</a:t>
                      </a:r>
                    </a:p>
                  </a:txBody>
                  <a:tcPr marL="11722" marR="11722" marT="8792" marB="8792"/>
                </a:tc>
                <a:extLst>
                  <a:ext uri="{0D108BD9-81ED-4DB2-BD59-A6C34878D82A}">
                    <a16:rowId xmlns:a16="http://schemas.microsoft.com/office/drawing/2014/main" val="3190724271"/>
                  </a:ext>
                </a:extLst>
              </a:tr>
              <a:tr h="656519">
                <a:tc>
                  <a:txBody>
                    <a:bodyPr/>
                    <a:lstStyle/>
                    <a:p>
                      <a:pPr algn="l" fontAlgn="t"/>
                      <a:endParaRPr lang="en-US" sz="800">
                        <a:effectLst/>
                      </a:endParaRPr>
                    </a:p>
                  </a:txBody>
                  <a:tcPr marL="11722" marR="11722" marT="8792" marB="8792"/>
                </a:tc>
                <a:tc>
                  <a:txBody>
                    <a:bodyPr/>
                    <a:lstStyle/>
                    <a:p>
                      <a:pPr algn="l" fontAlgn="t"/>
                      <a:r>
                        <a:rPr lang="en-US" sz="800" b="1">
                          <a:effectLst/>
                        </a:rPr>
                        <a:t>Deep</a:t>
                      </a:r>
                      <a:r>
                        <a:rPr lang="en-US" sz="800">
                          <a:effectLst/>
                        </a:rPr>
                        <a:t>. This access level gives a user access to records in the user's business unit and all business units subordinate to the user's business unit.</a:t>
                      </a:r>
                      <a:br>
                        <a:rPr lang="en-US" sz="800">
                          <a:effectLst/>
                        </a:rPr>
                      </a:br>
                      <a:r>
                        <a:rPr lang="en-US" sz="800">
                          <a:effectLst/>
                        </a:rPr>
                        <a:t>Users who have Deep access automatically have Local and Basic access, also.</a:t>
                      </a:r>
                      <a:br>
                        <a:rPr lang="en-US" sz="800">
                          <a:effectLst/>
                        </a:rPr>
                      </a:br>
                      <a:endParaRPr lang="en-US" sz="800">
                        <a:effectLst/>
                      </a:endParaRPr>
                    </a:p>
                    <a:p>
                      <a:pPr algn="l" fontAlgn="t"/>
                      <a:r>
                        <a:rPr lang="en-US" sz="800">
                          <a:effectLst/>
                        </a:rPr>
                        <a:t>The application refers to this access level as </a:t>
                      </a:r>
                      <a:r>
                        <a:rPr lang="en-US" sz="800" b="1">
                          <a:effectLst/>
                        </a:rPr>
                        <a:t>Parent: Child Business Units</a:t>
                      </a:r>
                      <a:r>
                        <a:rPr lang="en-US" sz="800">
                          <a:effectLst/>
                        </a:rPr>
                        <a:t>.</a:t>
                      </a:r>
                    </a:p>
                  </a:txBody>
                  <a:tcPr marL="11722" marR="11722" marT="8792" marB="8792"/>
                </a:tc>
                <a:extLst>
                  <a:ext uri="{0D108BD9-81ED-4DB2-BD59-A6C34878D82A}">
                    <a16:rowId xmlns:a16="http://schemas.microsoft.com/office/drawing/2014/main" val="1958207947"/>
                  </a:ext>
                </a:extLst>
              </a:tr>
              <a:tr h="678558">
                <a:tc>
                  <a:txBody>
                    <a:bodyPr/>
                    <a:lstStyle/>
                    <a:p>
                      <a:pPr algn="l" fontAlgn="t"/>
                      <a:endParaRPr lang="en-US" sz="800">
                        <a:effectLst/>
                      </a:endParaRPr>
                    </a:p>
                  </a:txBody>
                  <a:tcPr marL="11722" marR="11722" marT="8792" marB="8792"/>
                </a:tc>
                <a:tc>
                  <a:txBody>
                    <a:bodyPr/>
                    <a:lstStyle/>
                    <a:p>
                      <a:pPr algn="l" fontAlgn="t"/>
                      <a:r>
                        <a:rPr lang="en-US" sz="800" b="1">
                          <a:effectLst/>
                        </a:rPr>
                        <a:t>Local</a:t>
                      </a:r>
                      <a:r>
                        <a:rPr lang="en-US" sz="800">
                          <a:effectLst/>
                        </a:rPr>
                        <a:t>. This access level gives a user access to records in the user's business unit.</a:t>
                      </a:r>
                      <a:br>
                        <a:rPr lang="en-US" sz="800">
                          <a:effectLst/>
                        </a:rPr>
                      </a:br>
                      <a:br>
                        <a:rPr lang="en-US" sz="800">
                          <a:effectLst/>
                        </a:rPr>
                      </a:br>
                      <a:r>
                        <a:rPr lang="en-US" sz="800">
                          <a:effectLst/>
                        </a:rPr>
                        <a:t>Users who have Local access automatically have Basic access, also.</a:t>
                      </a:r>
                      <a:br>
                        <a:rPr lang="en-US" sz="800">
                          <a:effectLst/>
                        </a:rPr>
                      </a:br>
                      <a:br>
                        <a:rPr lang="en-US" sz="800">
                          <a:effectLst/>
                        </a:rPr>
                      </a:br>
                      <a:r>
                        <a:rPr lang="en-US" sz="800">
                          <a:effectLst/>
                        </a:rPr>
                        <a:t>The application refers to this access level as </a:t>
                      </a:r>
                      <a:r>
                        <a:rPr lang="en-US" sz="800" b="1">
                          <a:effectLst/>
                        </a:rPr>
                        <a:t>Business Unit</a:t>
                      </a:r>
                      <a:r>
                        <a:rPr lang="en-US" sz="800">
                          <a:effectLst/>
                        </a:rPr>
                        <a:t>.</a:t>
                      </a:r>
                    </a:p>
                  </a:txBody>
                  <a:tcPr marL="11722" marR="11722" marT="8792" marB="8792"/>
                </a:tc>
                <a:extLst>
                  <a:ext uri="{0D108BD9-81ED-4DB2-BD59-A6C34878D82A}">
                    <a16:rowId xmlns:a16="http://schemas.microsoft.com/office/drawing/2014/main" val="1905696831"/>
                  </a:ext>
                </a:extLst>
              </a:tr>
              <a:tr h="898874">
                <a:tc>
                  <a:txBody>
                    <a:bodyPr/>
                    <a:lstStyle/>
                    <a:p>
                      <a:pPr algn="l" fontAlgn="t"/>
                      <a:endParaRPr lang="en-US" sz="800">
                        <a:effectLst/>
                      </a:endParaRPr>
                    </a:p>
                  </a:txBody>
                  <a:tcPr marL="11722" marR="11722" marT="8792" marB="8792"/>
                </a:tc>
                <a:tc>
                  <a:txBody>
                    <a:bodyPr/>
                    <a:lstStyle/>
                    <a:p>
                      <a:pPr algn="l" fontAlgn="t"/>
                      <a:r>
                        <a:rPr lang="en-US" sz="800" b="1">
                          <a:effectLst/>
                        </a:rPr>
                        <a:t>Basic</a:t>
                      </a:r>
                      <a:r>
                        <a:rPr lang="en-US" sz="800">
                          <a:effectLst/>
                        </a:rPr>
                        <a:t>. This access level gives a user access to records that the user owns, objects that are shared with the user, and objects that are shared with a team that the user is a member of.</a:t>
                      </a:r>
                      <a:br>
                        <a:rPr lang="en-US" sz="800">
                          <a:effectLst/>
                        </a:rPr>
                      </a:br>
                      <a:br>
                        <a:rPr lang="en-US" sz="800">
                          <a:effectLst/>
                        </a:rPr>
                      </a:br>
                      <a:r>
                        <a:rPr lang="en-US" sz="800">
                          <a:effectLst/>
                        </a:rPr>
                        <a:t>This is the typical level of access for sales and service representatives.</a:t>
                      </a:r>
                      <a:br>
                        <a:rPr lang="en-US" sz="800">
                          <a:effectLst/>
                        </a:rPr>
                      </a:br>
                      <a:br>
                        <a:rPr lang="en-US" sz="800">
                          <a:effectLst/>
                        </a:rPr>
                      </a:br>
                      <a:r>
                        <a:rPr lang="en-US" sz="800">
                          <a:effectLst/>
                        </a:rPr>
                        <a:t>The application refers to this access level as </a:t>
                      </a:r>
                      <a:r>
                        <a:rPr lang="en-US" sz="800" b="1">
                          <a:effectLst/>
                        </a:rPr>
                        <a:t>User</a:t>
                      </a:r>
                      <a:r>
                        <a:rPr lang="en-US" sz="800">
                          <a:effectLst/>
                        </a:rPr>
                        <a:t>.</a:t>
                      </a:r>
                    </a:p>
                  </a:txBody>
                  <a:tcPr marL="11722" marR="11722" marT="8792" marB="8792"/>
                </a:tc>
                <a:extLst>
                  <a:ext uri="{0D108BD9-81ED-4DB2-BD59-A6C34878D82A}">
                    <a16:rowId xmlns:a16="http://schemas.microsoft.com/office/drawing/2014/main" val="2299890903"/>
                  </a:ext>
                </a:extLst>
              </a:tr>
              <a:tr h="323555">
                <a:tc>
                  <a:txBody>
                    <a:bodyPr/>
                    <a:lstStyle/>
                    <a:p>
                      <a:pPr algn="l" fontAlgn="t"/>
                      <a:endParaRPr lang="en-US" sz="800">
                        <a:effectLst/>
                      </a:endParaRPr>
                    </a:p>
                  </a:txBody>
                  <a:tcPr marL="11722" marR="11722" marT="8792" marB="8792"/>
                </a:tc>
                <a:tc>
                  <a:txBody>
                    <a:bodyPr/>
                    <a:lstStyle/>
                    <a:p>
                      <a:pPr algn="l" fontAlgn="t"/>
                      <a:r>
                        <a:rPr lang="en-US" sz="800" b="1" kern="1200">
                          <a:solidFill>
                            <a:schemeClr val="tx1"/>
                          </a:solidFill>
                          <a:effectLst/>
                        </a:rPr>
                        <a:t>None</a:t>
                      </a:r>
                      <a:r>
                        <a:rPr lang="en-US" sz="800" kern="1200">
                          <a:solidFill>
                            <a:schemeClr val="tx1"/>
                          </a:solidFill>
                          <a:effectLst/>
                        </a:rPr>
                        <a:t>. No access is allowed.</a:t>
                      </a:r>
                      <a:endParaRPr lang="en-US" sz="800" kern="1200">
                        <a:solidFill>
                          <a:schemeClr val="tx1"/>
                        </a:solidFill>
                        <a:effectLst/>
                        <a:latin typeface="+mn-lt"/>
                        <a:ea typeface="+mn-ea"/>
                        <a:cs typeface="+mn-cs"/>
                      </a:endParaRPr>
                    </a:p>
                  </a:txBody>
                  <a:tcPr marL="11722" marR="11722" marT="8792" marB="8792"/>
                </a:tc>
                <a:extLst>
                  <a:ext uri="{0D108BD9-81ED-4DB2-BD59-A6C34878D82A}">
                    <a16:rowId xmlns:a16="http://schemas.microsoft.com/office/drawing/2014/main" val="626383089"/>
                  </a:ext>
                </a:extLst>
              </a:tr>
            </a:tbl>
          </a:graphicData>
        </a:graphic>
      </p:graphicFrame>
      <p:sp>
        <p:nvSpPr>
          <p:cNvPr id="7" name="AutoShape 1" descr="Access level global">
            <a:extLst>
              <a:ext uri="{FF2B5EF4-FFF2-40B4-BE49-F238E27FC236}">
                <a16:creationId xmlns:a16="http://schemas.microsoft.com/office/drawing/2014/main" id="{9B1E3787-BC43-4B2E-B06F-B7E8DEA8CCF7}"/>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8" name="AutoShape 2" descr="Access level deep">
            <a:extLst>
              <a:ext uri="{FF2B5EF4-FFF2-40B4-BE49-F238E27FC236}">
                <a16:creationId xmlns:a16="http://schemas.microsoft.com/office/drawing/2014/main" id="{3FBD5499-3B50-4575-96B3-A3B6D539B3AC}"/>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9" name="AutoShape 3" descr="Access level local">
            <a:extLst>
              <a:ext uri="{FF2B5EF4-FFF2-40B4-BE49-F238E27FC236}">
                <a16:creationId xmlns:a16="http://schemas.microsoft.com/office/drawing/2014/main" id="{D552DD97-5C48-411E-9B8A-BB736FD49C8B}"/>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0" name="AutoShape 4" descr="Access level basic">
            <a:extLst>
              <a:ext uri="{FF2B5EF4-FFF2-40B4-BE49-F238E27FC236}">
                <a16:creationId xmlns:a16="http://schemas.microsoft.com/office/drawing/2014/main" id="{EBF77A11-D198-468E-86D9-84ADB73947C2}"/>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11" name="Picture 10">
            <a:extLst>
              <a:ext uri="{FF2B5EF4-FFF2-40B4-BE49-F238E27FC236}">
                <a16:creationId xmlns:a16="http://schemas.microsoft.com/office/drawing/2014/main" id="{7C47A446-2889-484A-96A6-409C9B0A3E66}"/>
              </a:ext>
            </a:extLst>
          </p:cNvPr>
          <p:cNvPicPr>
            <a:picLocks noChangeAspect="1"/>
          </p:cNvPicPr>
          <p:nvPr/>
        </p:nvPicPr>
        <p:blipFill>
          <a:blip r:embed="rId3"/>
          <a:stretch>
            <a:fillRect/>
          </a:stretch>
        </p:blipFill>
        <p:spPr>
          <a:xfrm>
            <a:off x="4916413" y="1512283"/>
            <a:ext cx="85725" cy="85725"/>
          </a:xfrm>
          <a:prstGeom prst="rect">
            <a:avLst/>
          </a:prstGeom>
        </p:spPr>
      </p:pic>
      <p:pic>
        <p:nvPicPr>
          <p:cNvPr id="12" name="Picture 11">
            <a:extLst>
              <a:ext uri="{FF2B5EF4-FFF2-40B4-BE49-F238E27FC236}">
                <a16:creationId xmlns:a16="http://schemas.microsoft.com/office/drawing/2014/main" id="{EDF1794E-A5E1-4E8E-9A29-BFF217EB8224}"/>
              </a:ext>
            </a:extLst>
          </p:cNvPr>
          <p:cNvPicPr>
            <a:picLocks noChangeAspect="1"/>
          </p:cNvPicPr>
          <p:nvPr/>
        </p:nvPicPr>
        <p:blipFill>
          <a:blip r:embed="rId4"/>
          <a:stretch>
            <a:fillRect/>
          </a:stretch>
        </p:blipFill>
        <p:spPr>
          <a:xfrm>
            <a:off x="4940618" y="2230359"/>
            <a:ext cx="85725" cy="85725"/>
          </a:xfrm>
          <a:prstGeom prst="rect">
            <a:avLst/>
          </a:prstGeom>
        </p:spPr>
      </p:pic>
      <p:pic>
        <p:nvPicPr>
          <p:cNvPr id="13" name="Picture 12">
            <a:extLst>
              <a:ext uri="{FF2B5EF4-FFF2-40B4-BE49-F238E27FC236}">
                <a16:creationId xmlns:a16="http://schemas.microsoft.com/office/drawing/2014/main" id="{7E30A24C-47A3-436B-9962-5777573E5BFC}"/>
              </a:ext>
            </a:extLst>
          </p:cNvPr>
          <p:cNvPicPr>
            <a:picLocks noChangeAspect="1"/>
          </p:cNvPicPr>
          <p:nvPr/>
        </p:nvPicPr>
        <p:blipFill>
          <a:blip r:embed="rId5"/>
          <a:stretch>
            <a:fillRect/>
          </a:stretch>
        </p:blipFill>
        <p:spPr>
          <a:xfrm>
            <a:off x="4948686" y="2908098"/>
            <a:ext cx="85725" cy="85725"/>
          </a:xfrm>
          <a:prstGeom prst="rect">
            <a:avLst/>
          </a:prstGeom>
        </p:spPr>
      </p:pic>
      <p:pic>
        <p:nvPicPr>
          <p:cNvPr id="14" name="Picture 13">
            <a:extLst>
              <a:ext uri="{FF2B5EF4-FFF2-40B4-BE49-F238E27FC236}">
                <a16:creationId xmlns:a16="http://schemas.microsoft.com/office/drawing/2014/main" id="{BAAD35A3-1191-4328-801C-DE71E9D6C99E}"/>
              </a:ext>
            </a:extLst>
          </p:cNvPr>
          <p:cNvPicPr>
            <a:picLocks noChangeAspect="1"/>
          </p:cNvPicPr>
          <p:nvPr/>
        </p:nvPicPr>
        <p:blipFill>
          <a:blip r:embed="rId6"/>
          <a:stretch>
            <a:fillRect/>
          </a:stretch>
        </p:blipFill>
        <p:spPr>
          <a:xfrm>
            <a:off x="4956757" y="3593895"/>
            <a:ext cx="85725" cy="85725"/>
          </a:xfrm>
          <a:prstGeom prst="rect">
            <a:avLst/>
          </a:prstGeom>
        </p:spPr>
      </p:pic>
      <p:pic>
        <p:nvPicPr>
          <p:cNvPr id="15" name="Picture 14">
            <a:extLst>
              <a:ext uri="{FF2B5EF4-FFF2-40B4-BE49-F238E27FC236}">
                <a16:creationId xmlns:a16="http://schemas.microsoft.com/office/drawing/2014/main" id="{16BE82EC-2691-4561-9B56-275DF3EB5C67}"/>
              </a:ext>
            </a:extLst>
          </p:cNvPr>
          <p:cNvPicPr>
            <a:picLocks noChangeAspect="1"/>
          </p:cNvPicPr>
          <p:nvPr/>
        </p:nvPicPr>
        <p:blipFill>
          <a:blip r:embed="rId7"/>
          <a:stretch>
            <a:fillRect/>
          </a:stretch>
        </p:blipFill>
        <p:spPr>
          <a:xfrm>
            <a:off x="4964823" y="4489462"/>
            <a:ext cx="85725" cy="85725"/>
          </a:xfrm>
          <a:prstGeom prst="rect">
            <a:avLst/>
          </a:prstGeom>
        </p:spPr>
      </p:pic>
      <p:graphicFrame>
        <p:nvGraphicFramePr>
          <p:cNvPr id="22" name="Table 21">
            <a:extLst>
              <a:ext uri="{FF2B5EF4-FFF2-40B4-BE49-F238E27FC236}">
                <a16:creationId xmlns:a16="http://schemas.microsoft.com/office/drawing/2014/main" id="{5D4E9B8B-BB14-4F07-A5FD-A5D8F12D079C}"/>
              </a:ext>
            </a:extLst>
          </p:cNvPr>
          <p:cNvGraphicFramePr>
            <a:graphicFrameLocks noGrp="1"/>
          </p:cNvGraphicFramePr>
          <p:nvPr/>
        </p:nvGraphicFramePr>
        <p:xfrm>
          <a:off x="4792266" y="1290869"/>
          <a:ext cx="4114800" cy="150621"/>
        </p:xfrm>
        <a:graphic>
          <a:graphicData uri="http://schemas.openxmlformats.org/drawingml/2006/table">
            <a:tbl>
              <a:tblPr>
                <a:tableStyleId>{72833802-FEF1-4C79-8D5D-14CF1EAF98D9}</a:tableStyleId>
              </a:tblPr>
              <a:tblGrid>
                <a:gridCol w="521414">
                  <a:extLst>
                    <a:ext uri="{9D8B030D-6E8A-4147-A177-3AD203B41FA5}">
                      <a16:colId xmlns:a16="http://schemas.microsoft.com/office/drawing/2014/main" val="3350531773"/>
                    </a:ext>
                  </a:extLst>
                </a:gridCol>
                <a:gridCol w="3593386">
                  <a:extLst>
                    <a:ext uri="{9D8B030D-6E8A-4147-A177-3AD203B41FA5}">
                      <a16:colId xmlns:a16="http://schemas.microsoft.com/office/drawing/2014/main" val="3770368278"/>
                    </a:ext>
                  </a:extLst>
                </a:gridCol>
              </a:tblGrid>
              <a:tr h="150621">
                <a:tc>
                  <a:txBody>
                    <a:bodyPr/>
                    <a:lstStyle/>
                    <a:p>
                      <a:pPr algn="l" fontAlgn="b"/>
                      <a:r>
                        <a:rPr lang="en-US" sz="800">
                          <a:solidFill>
                            <a:schemeClr val="bg1"/>
                          </a:solidFill>
                          <a:effectLst/>
                        </a:rPr>
                        <a:t>Access</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1574223022"/>
                  </a:ext>
                </a:extLst>
              </a:tr>
            </a:tbl>
          </a:graphicData>
        </a:graphic>
      </p:graphicFrame>
    </p:spTree>
    <p:extLst>
      <p:ext uri="{BB962C8B-B14F-4D97-AF65-F5344CB8AC3E}">
        <p14:creationId xmlns:p14="http://schemas.microsoft.com/office/powerpoint/2010/main" val="146532034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EF8BD7C-8C0A-40B6-887D-1E86CBCFB29F}"/>
              </a:ext>
            </a:extLst>
          </p:cNvPr>
          <p:cNvGrpSpPr/>
          <p:nvPr/>
        </p:nvGrpSpPr>
        <p:grpSpPr>
          <a:xfrm>
            <a:off x="1" y="366"/>
            <a:ext cx="6723186" cy="805624"/>
            <a:chOff x="-165100" y="-63500"/>
            <a:chExt cx="9144000" cy="1457750"/>
          </a:xfrm>
          <a:solidFill>
            <a:schemeClr val="bg1">
              <a:lumMod val="85000"/>
            </a:schemeClr>
          </a:solidFill>
        </p:grpSpPr>
        <p:sp>
          <p:nvSpPr>
            <p:cNvPr id="5" name="Freeform: Shape 4">
              <a:extLst>
                <a:ext uri="{FF2B5EF4-FFF2-40B4-BE49-F238E27FC236}">
                  <a16:creationId xmlns:a16="http://schemas.microsoft.com/office/drawing/2014/main" id="{C36D3EC3-0C7D-4ED1-88BE-1C0F38A960A8}"/>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C7F0FE88-4CE7-4B7F-97BA-6CC093CCCFDE}"/>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1BC68F35-E015-4C01-9C98-B5DCE5A26DFE}"/>
              </a:ext>
            </a:extLst>
          </p:cNvPr>
          <p:cNvGrpSpPr/>
          <p:nvPr/>
        </p:nvGrpSpPr>
        <p:grpSpPr>
          <a:xfrm>
            <a:off x="1" y="-89956"/>
            <a:ext cx="6601796" cy="770531"/>
            <a:chOff x="0" y="0"/>
            <a:chExt cx="8978900" cy="1394250"/>
          </a:xfrm>
        </p:grpSpPr>
        <p:sp>
          <p:nvSpPr>
            <p:cNvPr id="9" name="Freeform: Shape 8">
              <a:extLst>
                <a:ext uri="{FF2B5EF4-FFF2-40B4-BE49-F238E27FC236}">
                  <a16:creationId xmlns:a16="http://schemas.microsoft.com/office/drawing/2014/main" id="{FE246E70-EFCE-4172-B986-746340CA3783}"/>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E2C33F6D-E641-450E-9237-222FD9B3A4D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609C447-0187-4AC4-9A48-46509C4DA2A3}"/>
              </a:ext>
            </a:extLst>
          </p:cNvPr>
          <p:cNvSpPr>
            <a:spLocks noGrp="1"/>
          </p:cNvSpPr>
          <p:nvPr>
            <p:ph type="title"/>
          </p:nvPr>
        </p:nvSpPr>
        <p:spPr>
          <a:xfrm>
            <a:off x="440055" y="87560"/>
            <a:ext cx="8263890" cy="415499"/>
          </a:xfrm>
        </p:spPr>
        <p:txBody>
          <a:bodyPr/>
          <a:lstStyle/>
          <a:p>
            <a:r>
              <a:rPr lang="en-US"/>
              <a:t>Field level security</a:t>
            </a:r>
          </a:p>
        </p:txBody>
      </p:sp>
      <p:sp>
        <p:nvSpPr>
          <p:cNvPr id="3" name="Text Placeholder 2">
            <a:extLst>
              <a:ext uri="{FF2B5EF4-FFF2-40B4-BE49-F238E27FC236}">
                <a16:creationId xmlns:a16="http://schemas.microsoft.com/office/drawing/2014/main" id="{76F7A431-DC84-4FE0-AACA-55CC2726F488}"/>
              </a:ext>
            </a:extLst>
          </p:cNvPr>
          <p:cNvSpPr>
            <a:spLocks noGrp="1"/>
          </p:cNvSpPr>
          <p:nvPr>
            <p:ph type="body" sz="quarter" idx="10"/>
          </p:nvPr>
        </p:nvSpPr>
        <p:spPr>
          <a:xfrm>
            <a:off x="216272" y="1040014"/>
            <a:ext cx="8263890" cy="3962623"/>
          </a:xfrm>
        </p:spPr>
        <p:txBody>
          <a:bodyPr/>
          <a:lstStyle/>
          <a:p>
            <a:pPr marL="342900" indent="-342900">
              <a:spcBef>
                <a:spcPts val="450"/>
              </a:spcBef>
              <a:buFont typeface="Arial" panose="020B0604020202020204" pitchFamily="34" charset="0"/>
              <a:buChar char="•"/>
            </a:pPr>
            <a:r>
              <a:rPr lang="en-US" sz="1350"/>
              <a:t>Control access to sensitive data</a:t>
            </a:r>
          </a:p>
          <a:p>
            <a:pPr marL="342900" indent="-342900">
              <a:spcBef>
                <a:spcPts val="450"/>
              </a:spcBef>
              <a:buFont typeface="Arial" panose="020B0604020202020204" pitchFamily="34" charset="0"/>
              <a:buChar char="•"/>
            </a:pPr>
            <a:r>
              <a:rPr lang="en-US" sz="1350"/>
              <a:t>Can be used in:</a:t>
            </a:r>
          </a:p>
          <a:p>
            <a:pPr marL="514350" lvl="1" indent="-342900">
              <a:spcBef>
                <a:spcPts val="450"/>
              </a:spcBef>
              <a:buFont typeface="Arial" panose="020B0604020202020204" pitchFamily="34" charset="0"/>
              <a:buChar char="•"/>
            </a:pPr>
            <a:r>
              <a:rPr lang="en-US" sz="1050"/>
              <a:t>Client applications – Web, mobile, Microsoft Dynamics for Outlook</a:t>
            </a:r>
          </a:p>
          <a:p>
            <a:pPr marL="514350" lvl="1" indent="-342900">
              <a:spcBef>
                <a:spcPts val="450"/>
              </a:spcBef>
              <a:buFont typeface="Arial" panose="020B0604020202020204" pitchFamily="34" charset="0"/>
              <a:buChar char="•"/>
            </a:pPr>
            <a:r>
              <a:rPr lang="en-US" sz="1050"/>
              <a:t>Web service calls – plugins, workflow, custom code</a:t>
            </a:r>
          </a:p>
          <a:p>
            <a:pPr marL="514350" lvl="1" indent="-342900">
              <a:spcBef>
                <a:spcPts val="450"/>
              </a:spcBef>
              <a:buFont typeface="Arial" panose="020B0604020202020204" pitchFamily="34" charset="0"/>
              <a:buChar char="•"/>
            </a:pPr>
            <a:r>
              <a:rPr lang="en-US" sz="1050"/>
              <a:t>Reporting (via Filtered views)</a:t>
            </a:r>
          </a:p>
          <a:p>
            <a:pPr marL="342900" indent="-342900">
              <a:spcBef>
                <a:spcPts val="450"/>
              </a:spcBef>
              <a:buFont typeface="Arial" panose="020B0604020202020204" pitchFamily="34" charset="0"/>
              <a:buChar char="•"/>
            </a:pPr>
            <a:r>
              <a:rPr lang="en-US" sz="1350"/>
              <a:t>Enforce by security profile for:</a:t>
            </a:r>
          </a:p>
          <a:p>
            <a:pPr marL="514350" lvl="1" indent="-342900">
              <a:spcBef>
                <a:spcPts val="450"/>
              </a:spcBef>
              <a:buFont typeface="Arial" panose="020B0604020202020204" pitchFamily="34" charset="0"/>
              <a:buChar char="•"/>
            </a:pPr>
            <a:r>
              <a:rPr lang="en-US" sz="1050"/>
              <a:t>Users and Teams</a:t>
            </a:r>
          </a:p>
          <a:p>
            <a:pPr marL="342900" indent="-342900">
              <a:spcBef>
                <a:spcPts val="450"/>
              </a:spcBef>
              <a:buFont typeface="Arial" panose="020B0604020202020204" pitchFamily="34" charset="0"/>
              <a:buChar char="•"/>
            </a:pPr>
            <a:r>
              <a:rPr lang="en-US" sz="1350"/>
              <a:t>Permission Scope:</a:t>
            </a:r>
          </a:p>
          <a:p>
            <a:pPr marL="514350" lvl="1" indent="-342900">
              <a:spcBef>
                <a:spcPts val="450"/>
              </a:spcBef>
              <a:buFont typeface="Arial" panose="020B0604020202020204" pitchFamily="34" charset="0"/>
              <a:buChar char="•"/>
            </a:pPr>
            <a:r>
              <a:rPr lang="en-US" sz="1050"/>
              <a:t>Read</a:t>
            </a:r>
          </a:p>
          <a:p>
            <a:pPr marL="514350" lvl="1" indent="-342900">
              <a:spcBef>
                <a:spcPts val="450"/>
              </a:spcBef>
              <a:buFont typeface="Arial" panose="020B0604020202020204" pitchFamily="34" charset="0"/>
              <a:buChar char="•"/>
            </a:pPr>
            <a:r>
              <a:rPr lang="en-US" sz="1050"/>
              <a:t>Create</a:t>
            </a:r>
          </a:p>
          <a:p>
            <a:pPr marL="514350" lvl="1" indent="-342900">
              <a:spcBef>
                <a:spcPts val="450"/>
              </a:spcBef>
              <a:buFont typeface="Arial" panose="020B0604020202020204" pitchFamily="34" charset="0"/>
              <a:buChar char="•"/>
            </a:pPr>
            <a:r>
              <a:rPr lang="en-US" sz="1050"/>
              <a:t>Update</a:t>
            </a:r>
          </a:p>
          <a:p>
            <a:pPr marL="342900" indent="-342900">
              <a:spcBef>
                <a:spcPts val="450"/>
              </a:spcBef>
              <a:buFont typeface="Arial" panose="020B0604020202020204" pitchFamily="34" charset="0"/>
              <a:buChar char="•"/>
            </a:pPr>
            <a:r>
              <a:rPr lang="en-US" sz="1350"/>
              <a:t>Exceptions (do not support FLS)</a:t>
            </a:r>
          </a:p>
          <a:p>
            <a:pPr marL="514350" lvl="1" indent="-342900">
              <a:spcBef>
                <a:spcPts val="450"/>
              </a:spcBef>
              <a:buFont typeface="Arial" panose="020B0604020202020204" pitchFamily="34" charset="0"/>
              <a:buChar char="•"/>
            </a:pPr>
            <a:r>
              <a:rPr lang="en-US" sz="1050"/>
              <a:t>Identifiers – </a:t>
            </a:r>
            <a:r>
              <a:rPr lang="en-US" sz="1050" err="1"/>
              <a:t>ownerId</a:t>
            </a:r>
            <a:r>
              <a:rPr lang="en-US" sz="1050"/>
              <a:t>, </a:t>
            </a:r>
            <a:r>
              <a:rPr lang="en-US" sz="1050" err="1"/>
              <a:t>contactId</a:t>
            </a:r>
            <a:r>
              <a:rPr lang="en-US" sz="1050"/>
              <a:t>, </a:t>
            </a:r>
            <a:r>
              <a:rPr lang="en-US" sz="1050" err="1"/>
              <a:t>accountId</a:t>
            </a:r>
            <a:r>
              <a:rPr lang="en-US" sz="1050"/>
              <a:t>, </a:t>
            </a:r>
            <a:r>
              <a:rPr lang="en-US" sz="1050" err="1"/>
              <a:t>etc</a:t>
            </a:r>
            <a:endParaRPr lang="en-US" sz="1050"/>
          </a:p>
          <a:p>
            <a:pPr marL="514350" lvl="1" indent="-342900">
              <a:spcBef>
                <a:spcPts val="450"/>
              </a:spcBef>
              <a:buFont typeface="Arial" panose="020B0604020202020204" pitchFamily="34" charset="0"/>
              <a:buChar char="•"/>
            </a:pPr>
            <a:r>
              <a:rPr lang="en-US" sz="1050"/>
              <a:t>Security principal fields – </a:t>
            </a:r>
            <a:r>
              <a:rPr lang="en-US" sz="1050" err="1"/>
              <a:t>createdBy</a:t>
            </a:r>
            <a:r>
              <a:rPr lang="en-US" sz="1050"/>
              <a:t>, </a:t>
            </a:r>
            <a:r>
              <a:rPr lang="en-US" sz="1050" err="1"/>
              <a:t>modifiedBy</a:t>
            </a:r>
            <a:r>
              <a:rPr lang="en-US" sz="1050"/>
              <a:t>, Owning Team/User</a:t>
            </a:r>
          </a:p>
          <a:p>
            <a:pPr marL="514350" lvl="1" indent="-342900">
              <a:spcBef>
                <a:spcPts val="450"/>
              </a:spcBef>
              <a:buFont typeface="Arial" panose="020B0604020202020204" pitchFamily="34" charset="0"/>
              <a:buChar char="•"/>
            </a:pPr>
            <a:r>
              <a:rPr lang="en-US" sz="1050"/>
              <a:t>Timestamp</a:t>
            </a:r>
          </a:p>
          <a:p>
            <a:pPr marL="514350" lvl="1" indent="-342900">
              <a:spcBef>
                <a:spcPts val="450"/>
              </a:spcBef>
              <a:buFont typeface="Arial" panose="020B0604020202020204" pitchFamily="34" charset="0"/>
              <a:buChar char="•"/>
            </a:pPr>
            <a:r>
              <a:rPr lang="en-US" sz="1050"/>
              <a:t>Codes – state, status</a:t>
            </a:r>
          </a:p>
        </p:txBody>
      </p:sp>
      <p:pic>
        <p:nvPicPr>
          <p:cNvPr id="13" name="Picture 12">
            <a:extLst>
              <a:ext uri="{FF2B5EF4-FFF2-40B4-BE49-F238E27FC236}">
                <a16:creationId xmlns:a16="http://schemas.microsoft.com/office/drawing/2014/main" id="{894D6CB2-E557-4787-A7BF-C338BA7416B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55365" y="1468120"/>
            <a:ext cx="4426577" cy="2915920"/>
          </a:xfrm>
          <a:prstGeom prst="rect">
            <a:avLst/>
          </a:prstGeom>
        </p:spPr>
      </p:pic>
      <p:sp>
        <p:nvSpPr>
          <p:cNvPr id="16" name="Freeform: Shape 15">
            <a:extLst>
              <a:ext uri="{FF2B5EF4-FFF2-40B4-BE49-F238E27FC236}">
                <a16:creationId xmlns:a16="http://schemas.microsoft.com/office/drawing/2014/main" id="{8BA42765-24EC-431B-AA1F-C87FAA4C318C}"/>
              </a:ext>
            </a:extLst>
          </p:cNvPr>
          <p:cNvSpPr/>
          <p:nvPr/>
        </p:nvSpPr>
        <p:spPr>
          <a:xfrm flipH="1">
            <a:off x="4897120" y="1342944"/>
            <a:ext cx="4943784" cy="30134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spTree>
    <p:extLst>
      <p:ext uri="{BB962C8B-B14F-4D97-AF65-F5344CB8AC3E}">
        <p14:creationId xmlns:p14="http://schemas.microsoft.com/office/powerpoint/2010/main" val="162696869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On-premises data gatewa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6</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422118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8" name="TextBox 97">
            <a:extLst>
              <a:ext uri="{FF2B5EF4-FFF2-40B4-BE49-F238E27FC236}">
                <a16:creationId xmlns:a16="http://schemas.microsoft.com/office/drawing/2014/main" id="{A5F6BEDB-DADE-40F0-AB54-6E1338F501BE}"/>
              </a:ext>
            </a:extLst>
          </p:cNvPr>
          <p:cNvSpPr txBox="1"/>
          <p:nvPr/>
        </p:nvSpPr>
        <p:spPr>
          <a:xfrm>
            <a:off x="6123281" y="2224565"/>
            <a:ext cx="1593556"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6123541" y="3550345"/>
            <a:ext cx="2107906" cy="180947"/>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6123542" y="4164805"/>
            <a:ext cx="1983999" cy="180947"/>
          </a:xfrm>
          <a:prstGeom prst="rect">
            <a:avLst/>
          </a:prstGeom>
          <a:noFill/>
        </p:spPr>
        <p:txBody>
          <a:bodyPr wrap="square" lIns="0" tIns="0" rIns="0" bIns="0" rtlCol="0">
            <a:spAutoFit/>
          </a:bodyPr>
          <a:lstStyle/>
          <a:p>
            <a:pPr defTabSz="896364">
              <a:defRPr/>
            </a:pPr>
            <a:r>
              <a:rPr lang="en-US" sz="1176">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440686" y="1184887"/>
            <a:ext cx="4195916" cy="2764838"/>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615840" y="1439546"/>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615840" y="1439546"/>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649613" y="1484296"/>
            <a:ext cx="18114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679420" y="1611608"/>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679420" y="1611609"/>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713193" y="1656358"/>
            <a:ext cx="193964"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752244" y="1780259"/>
            <a:ext cx="3693320" cy="1573572"/>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421" y="2143597"/>
            <a:ext cx="342900" cy="3429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16486" y="2143597"/>
            <a:ext cx="342900" cy="3429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69552" y="2143597"/>
            <a:ext cx="342900" cy="3429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881944" y="2433164"/>
            <a:ext cx="705854" cy="31675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1970708" y="2512352"/>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3109475" y="2512352"/>
            <a:ext cx="1263055"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881944" y="2785057"/>
            <a:ext cx="3427006" cy="332213"/>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752244" y="1780258"/>
            <a:ext cx="3693320" cy="313409"/>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090333" y="3148494"/>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1697993" y="3490067"/>
            <a:ext cx="1813248" cy="316769"/>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786017" y="1825009"/>
            <a:ext cx="22442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2533547" y="3353831"/>
            <a:ext cx="1062" cy="136236"/>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1693940" y="721324"/>
            <a:ext cx="1687245" cy="316769"/>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1565730" y="4112974"/>
            <a:ext cx="1943664" cy="316769"/>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2537562" y="1038093"/>
            <a:ext cx="1082" cy="146795"/>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2537562" y="3949725"/>
            <a:ext cx="1082" cy="16325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373822" y="1136900"/>
            <a:ext cx="737061" cy="346249"/>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6123281" y="789190"/>
            <a:ext cx="1736431"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5732654" y="685808"/>
            <a:ext cx="365165" cy="387798"/>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5736409" y="2121863"/>
            <a:ext cx="365165" cy="387798"/>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5736409" y="2757014"/>
            <a:ext cx="365165" cy="387798"/>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5736409" y="3457877"/>
            <a:ext cx="365165" cy="387798"/>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5736409" y="1745103"/>
            <a:ext cx="365165" cy="387798"/>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accent6">
                      <a:lumMod val="20000"/>
                      <a:lumOff val="80000"/>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6123541" y="1846481"/>
            <a:ext cx="2107906" cy="180947"/>
          </a:xfrm>
          <a:prstGeom prst="rect">
            <a:avLst/>
          </a:prstGeom>
          <a:noFill/>
        </p:spPr>
        <p:txBody>
          <a:bodyPr wrap="square" lIns="0" tIns="0" rIns="0" bIns="0" rtlCol="0">
            <a:spAutoFit/>
          </a:bodyPr>
          <a:lstStyle/>
          <a:p>
            <a:pPr defTabSz="896364">
              <a:defRPr/>
            </a:pPr>
            <a:r>
              <a:rPr lang="en-US" sz="1176">
                <a:solidFill>
                  <a:schemeClr val="accent6">
                    <a:lumMod val="20000"/>
                    <a:lumOff val="80000"/>
                  </a:schemeClr>
                </a:solidFill>
                <a:latin typeface="Segoe UI"/>
              </a:rPr>
              <a:t>Environment access &amp; strategy</a:t>
            </a:r>
          </a:p>
        </p:txBody>
      </p:sp>
      <p:sp>
        <p:nvSpPr>
          <p:cNvPr id="110" name="TextBox 109">
            <a:extLst>
              <a:ext uri="{FF2B5EF4-FFF2-40B4-BE49-F238E27FC236}">
                <a16:creationId xmlns:a16="http://schemas.microsoft.com/office/drawing/2014/main" id="{57DA2314-2D9D-4466-A593-D5DA06910AA4}"/>
              </a:ext>
            </a:extLst>
          </p:cNvPr>
          <p:cNvSpPr txBox="1"/>
          <p:nvPr/>
        </p:nvSpPr>
        <p:spPr>
          <a:xfrm>
            <a:off x="6123281" y="2860432"/>
            <a:ext cx="2646897"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5732654" y="4077347"/>
            <a:ext cx="365165" cy="387798"/>
            <a:chOff x="6751110" y="1373397"/>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1110" y="1373397"/>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3381185" y="879707"/>
            <a:ext cx="2351469" cy="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4445564" y="1936963"/>
            <a:ext cx="1290845" cy="203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4308951" y="2315762"/>
            <a:ext cx="1427458" cy="8326"/>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4308950" y="2950913"/>
            <a:ext cx="1427459" cy="25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3369102" y="3648452"/>
            <a:ext cx="2367307" cy="332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3509394" y="4271246"/>
            <a:ext cx="2223260" cy="11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9804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p:txBody>
          <a:bodyPr/>
          <a:lstStyle/>
          <a:p>
            <a:r>
              <a:rPr lang="en-US">
                <a:solidFill>
                  <a:schemeClr val="bg1"/>
                </a:solidFill>
              </a:rPr>
              <a:t>On-prem Gateways: Key Facts </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3" name="Straight Connector 22">
            <a:extLst>
              <a:ext uri="{FF2B5EF4-FFF2-40B4-BE49-F238E27FC236}">
                <a16:creationId xmlns:a16="http://schemas.microsoft.com/office/drawing/2014/main" id="{5373A366-FA43-4130-BC98-BD6A40AD4891}"/>
              </a:ext>
            </a:extLst>
          </p:cNvPr>
          <p:cNvCxnSpPr>
            <a:cxnSpLocks/>
          </p:cNvCxnSpPr>
          <p:nvPr/>
        </p:nvCxnSpPr>
        <p:spPr>
          <a:xfrm>
            <a:off x="348846" y="1543456"/>
            <a:ext cx="6136228"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C2EB24-4964-4DB1-B3D8-64FCAD17FE10}"/>
              </a:ext>
            </a:extLst>
          </p:cNvPr>
          <p:cNvCxnSpPr>
            <a:cxnSpLocks/>
          </p:cNvCxnSpPr>
          <p:nvPr/>
        </p:nvCxnSpPr>
        <p:spPr>
          <a:xfrm>
            <a:off x="348846" y="2384132"/>
            <a:ext cx="5527715"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356AEE3-A69F-4736-B1BA-022703F5A70D}"/>
              </a:ext>
            </a:extLst>
          </p:cNvPr>
          <p:cNvCxnSpPr>
            <a:cxnSpLocks/>
          </p:cNvCxnSpPr>
          <p:nvPr/>
        </p:nvCxnSpPr>
        <p:spPr>
          <a:xfrm>
            <a:off x="348846" y="30180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E98BDE-B448-46F3-8483-0A6DE9E890A7}"/>
              </a:ext>
            </a:extLst>
          </p:cNvPr>
          <p:cNvCxnSpPr>
            <a:cxnSpLocks/>
          </p:cNvCxnSpPr>
          <p:nvPr/>
        </p:nvCxnSpPr>
        <p:spPr>
          <a:xfrm>
            <a:off x="348846" y="36525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globe_4" title="Icon of the earth">
            <a:extLst>
              <a:ext uri="{FF2B5EF4-FFF2-40B4-BE49-F238E27FC236}">
                <a16:creationId xmlns:a16="http://schemas.microsoft.com/office/drawing/2014/main" id="{6C7E746C-E952-469B-906A-78E6DC40521F}"/>
              </a:ext>
            </a:extLst>
          </p:cNvPr>
          <p:cNvSpPr>
            <a:spLocks noChangeAspect="1" noEditPoints="1"/>
          </p:cNvSpPr>
          <p:nvPr/>
        </p:nvSpPr>
        <p:spPr bwMode="auto">
          <a:xfrm>
            <a:off x="397414" y="1830846"/>
            <a:ext cx="318497" cy="32249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gradFill>
              <a:latin typeface="Segoe UI"/>
            </a:endParaRPr>
          </a:p>
        </p:txBody>
      </p:sp>
      <p:grpSp>
        <p:nvGrpSpPr>
          <p:cNvPr id="49" name="Group 48">
            <a:extLst>
              <a:ext uri="{FF2B5EF4-FFF2-40B4-BE49-F238E27FC236}">
                <a16:creationId xmlns:a16="http://schemas.microsoft.com/office/drawing/2014/main" id="{1083A077-EC50-49E6-995B-D9F2948897EA}"/>
              </a:ext>
            </a:extLst>
          </p:cNvPr>
          <p:cNvGrpSpPr/>
          <p:nvPr/>
        </p:nvGrpSpPr>
        <p:grpSpPr>
          <a:xfrm>
            <a:off x="379592" y="2573706"/>
            <a:ext cx="354141" cy="235615"/>
            <a:chOff x="4770708" y="4963480"/>
            <a:chExt cx="469583" cy="312420"/>
          </a:xfrm>
        </p:grpSpPr>
        <p:sp>
          <p:nvSpPr>
            <p:cNvPr id="50" name="Freeform: Shape 49">
              <a:extLst>
                <a:ext uri="{FF2B5EF4-FFF2-40B4-BE49-F238E27FC236}">
                  <a16:creationId xmlns:a16="http://schemas.microsoft.com/office/drawing/2014/main" id="{04FADED2-9D09-4231-8780-6BF2D9C50DB0}"/>
                </a:ext>
              </a:extLst>
            </p:cNvPr>
            <p:cNvSpPr/>
            <p:nvPr/>
          </p:nvSpPr>
          <p:spPr>
            <a:xfrm>
              <a:off x="4837383" y="4963718"/>
              <a:ext cx="342900" cy="200025"/>
            </a:xfrm>
            <a:custGeom>
              <a:avLst/>
              <a:gdLst>
                <a:gd name="connsiteX0" fmla="*/ 337866 w 342900"/>
                <a:gd name="connsiteY0" fmla="*/ 43305 h 200025"/>
                <a:gd name="connsiteX1" fmla="*/ 301671 w 342900"/>
                <a:gd name="connsiteY1" fmla="*/ 43305 h 200025"/>
                <a:gd name="connsiteX2" fmla="*/ 153081 w 342900"/>
                <a:gd name="connsiteY2" fmla="*/ 8062 h 200025"/>
                <a:gd name="connsiteX3" fmla="*/ 130221 w 342900"/>
                <a:gd name="connsiteY3" fmla="*/ 13777 h 200025"/>
                <a:gd name="connsiteX4" fmla="*/ 14016 w 342900"/>
                <a:gd name="connsiteY4" fmla="*/ 116647 h 200025"/>
                <a:gd name="connsiteX5" fmla="*/ 7348 w 342900"/>
                <a:gd name="connsiteY5" fmla="*/ 131887 h 200025"/>
                <a:gd name="connsiteX6" fmla="*/ 7348 w 342900"/>
                <a:gd name="connsiteY6" fmla="*/ 144270 h 200025"/>
                <a:gd name="connsiteX7" fmla="*/ 222613 w 342900"/>
                <a:gd name="connsiteY7" fmla="*/ 144270 h 200025"/>
                <a:gd name="connsiteX8" fmla="*/ 107361 w 342900"/>
                <a:gd name="connsiteY8" fmla="*/ 144270 h 200025"/>
                <a:gd name="connsiteX9" fmla="*/ 79738 w 342900"/>
                <a:gd name="connsiteY9" fmla="*/ 171892 h 200025"/>
                <a:gd name="connsiteX10" fmla="*/ 79738 w 342900"/>
                <a:gd name="connsiteY10" fmla="*/ 171892 h 200025"/>
                <a:gd name="connsiteX11" fmla="*/ 107361 w 342900"/>
                <a:gd name="connsiteY11" fmla="*/ 199515 h 200025"/>
                <a:gd name="connsiteX12" fmla="*/ 300718 w 342900"/>
                <a:gd name="connsiteY12" fmla="*/ 199515 h 200025"/>
                <a:gd name="connsiteX13" fmla="*/ 336913 w 342900"/>
                <a:gd name="connsiteY13" fmla="*/ 18999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900" h="200025">
                  <a:moveTo>
                    <a:pt x="337866" y="43305"/>
                  </a:moveTo>
                  <a:lnTo>
                    <a:pt x="301671" y="43305"/>
                  </a:lnTo>
                  <a:lnTo>
                    <a:pt x="153081" y="8062"/>
                  </a:lnTo>
                  <a:cubicBezTo>
                    <a:pt x="145461" y="6157"/>
                    <a:pt x="136888" y="8062"/>
                    <a:pt x="130221" y="13777"/>
                  </a:cubicBezTo>
                  <a:lnTo>
                    <a:pt x="14016" y="116647"/>
                  </a:lnTo>
                  <a:cubicBezTo>
                    <a:pt x="9253" y="120457"/>
                    <a:pt x="7348" y="126172"/>
                    <a:pt x="7348" y="131887"/>
                  </a:cubicBezTo>
                  <a:lnTo>
                    <a:pt x="7348" y="144270"/>
                  </a:lnTo>
                  <a:lnTo>
                    <a:pt x="222613" y="144270"/>
                  </a:lnTo>
                  <a:lnTo>
                    <a:pt x="107361" y="144270"/>
                  </a:lnTo>
                  <a:cubicBezTo>
                    <a:pt x="92121" y="144270"/>
                    <a:pt x="79738" y="156652"/>
                    <a:pt x="79738" y="171892"/>
                  </a:cubicBezTo>
                  <a:lnTo>
                    <a:pt x="79738" y="171892"/>
                  </a:lnTo>
                  <a:cubicBezTo>
                    <a:pt x="79738" y="187132"/>
                    <a:pt x="92121" y="199515"/>
                    <a:pt x="107361" y="199515"/>
                  </a:cubicBezTo>
                  <a:lnTo>
                    <a:pt x="300718" y="199515"/>
                  </a:lnTo>
                  <a:lnTo>
                    <a:pt x="336913" y="18999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F663A530-509E-45A8-850F-2B4D8A412014}"/>
                </a:ext>
              </a:extLst>
            </p:cNvPr>
            <p:cNvSpPr/>
            <p:nvPr/>
          </p:nvSpPr>
          <p:spPr>
            <a:xfrm>
              <a:off x="5167901" y="4976815"/>
              <a:ext cx="38100" cy="190500"/>
            </a:xfrm>
            <a:custGeom>
              <a:avLst/>
              <a:gdLst>
                <a:gd name="connsiteX0" fmla="*/ 7348 w 38100"/>
                <a:gd name="connsiteY0" fmla="*/ 7348 h 190500"/>
                <a:gd name="connsiteX1" fmla="*/ 32113 w 38100"/>
                <a:gd name="connsiteY1" fmla="*/ 7348 h 190500"/>
                <a:gd name="connsiteX2" fmla="*/ 32113 w 38100"/>
                <a:gd name="connsiteY2" fmla="*/ 186418 h 190500"/>
                <a:gd name="connsiteX3" fmla="*/ 7348 w 38100"/>
                <a:gd name="connsiteY3" fmla="*/ 186418 h 190500"/>
              </a:gdLst>
              <a:ahLst/>
              <a:cxnLst>
                <a:cxn ang="0">
                  <a:pos x="connsiteX0" y="connsiteY0"/>
                </a:cxn>
                <a:cxn ang="0">
                  <a:pos x="connsiteX1" y="connsiteY1"/>
                </a:cxn>
                <a:cxn ang="0">
                  <a:pos x="connsiteX2" y="connsiteY2"/>
                </a:cxn>
                <a:cxn ang="0">
                  <a:pos x="connsiteX3" y="connsiteY3"/>
                </a:cxn>
              </a:cxnLst>
              <a:rect l="l" t="t" r="r" b="b"/>
              <a:pathLst>
                <a:path w="38100" h="190500">
                  <a:moveTo>
                    <a:pt x="7348" y="7348"/>
                  </a:moveTo>
                  <a:lnTo>
                    <a:pt x="32113" y="7348"/>
                  </a:lnTo>
                  <a:lnTo>
                    <a:pt x="32113" y="186418"/>
                  </a:lnTo>
                  <a:lnTo>
                    <a:pt x="7348" y="18641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22280C87-57F0-4A46-8268-E2FBAECF3F1D}"/>
                </a:ext>
              </a:extLst>
            </p:cNvPr>
            <p:cNvSpPr/>
            <p:nvPr/>
          </p:nvSpPr>
          <p:spPr>
            <a:xfrm>
              <a:off x="5192666" y="4963480"/>
              <a:ext cx="47625" cy="209550"/>
            </a:xfrm>
            <a:custGeom>
              <a:avLst/>
              <a:gdLst>
                <a:gd name="connsiteX0" fmla="*/ 7348 w 47625"/>
                <a:gd name="connsiteY0" fmla="*/ 7348 h 209550"/>
                <a:gd name="connsiteX1" fmla="*/ 46401 w 47625"/>
                <a:gd name="connsiteY1" fmla="*/ 7348 h 209550"/>
                <a:gd name="connsiteX2" fmla="*/ 46401 w 47625"/>
                <a:gd name="connsiteY2" fmla="*/ 209278 h 209550"/>
                <a:gd name="connsiteX3" fmla="*/ 7348 w 47625"/>
                <a:gd name="connsiteY3" fmla="*/ 209278 h 209550"/>
              </a:gdLst>
              <a:ahLst/>
              <a:cxnLst>
                <a:cxn ang="0">
                  <a:pos x="connsiteX0" y="connsiteY0"/>
                </a:cxn>
                <a:cxn ang="0">
                  <a:pos x="connsiteX1" y="connsiteY1"/>
                </a:cxn>
                <a:cxn ang="0">
                  <a:pos x="connsiteX2" y="connsiteY2"/>
                </a:cxn>
                <a:cxn ang="0">
                  <a:pos x="connsiteX3" y="connsiteY3"/>
                </a:cxn>
              </a:cxnLst>
              <a:rect l="l" t="t" r="r" b="b"/>
              <a:pathLst>
                <a:path w="47625" h="209550">
                  <a:moveTo>
                    <a:pt x="7348" y="7348"/>
                  </a:moveTo>
                  <a:lnTo>
                    <a:pt x="46401" y="7348"/>
                  </a:lnTo>
                  <a:lnTo>
                    <a:pt x="46401" y="209278"/>
                  </a:lnTo>
                  <a:lnTo>
                    <a:pt x="7348" y="20927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6E0E5FF3-08A8-4851-B790-BA320A153360}"/>
                </a:ext>
              </a:extLst>
            </p:cNvPr>
            <p:cNvSpPr/>
            <p:nvPr/>
          </p:nvSpPr>
          <p:spPr>
            <a:xfrm>
              <a:off x="4792616" y="5100640"/>
              <a:ext cx="295275" cy="171450"/>
            </a:xfrm>
            <a:custGeom>
              <a:avLst/>
              <a:gdLst>
                <a:gd name="connsiteX0" fmla="*/ 293098 w 295275"/>
                <a:gd name="connsiteY0" fmla="*/ 62593 h 171450"/>
                <a:gd name="connsiteX1" fmla="*/ 293098 w 295275"/>
                <a:gd name="connsiteY1" fmla="*/ 173083 h 171450"/>
                <a:gd name="connsiteX2" fmla="*/ 7348 w 295275"/>
                <a:gd name="connsiteY2" fmla="*/ 173083 h 171450"/>
                <a:gd name="connsiteX3" fmla="*/ 7348 w 295275"/>
                <a:gd name="connsiteY3" fmla="*/ 7348 h 171450"/>
                <a:gd name="connsiteX4" fmla="*/ 149271 w 295275"/>
                <a:gd name="connsiteY4" fmla="*/ 7348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171450">
                  <a:moveTo>
                    <a:pt x="293098" y="62593"/>
                  </a:moveTo>
                  <a:lnTo>
                    <a:pt x="293098" y="173083"/>
                  </a:lnTo>
                  <a:lnTo>
                    <a:pt x="7348" y="173083"/>
                  </a:lnTo>
                  <a:lnTo>
                    <a:pt x="7348" y="7348"/>
                  </a:lnTo>
                  <a:lnTo>
                    <a:pt x="14927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DAD7C870-20B1-430E-9EC7-13AAB6EE83F4}"/>
                </a:ext>
              </a:extLst>
            </p:cNvPr>
            <p:cNvSpPr/>
            <p:nvPr/>
          </p:nvSpPr>
          <p:spPr>
            <a:xfrm>
              <a:off x="4770708" y="5266375"/>
              <a:ext cx="342900" cy="9525"/>
            </a:xfrm>
            <a:custGeom>
              <a:avLst/>
              <a:gdLst>
                <a:gd name="connsiteX0" fmla="*/ 7348 w 342900"/>
                <a:gd name="connsiteY0" fmla="*/ 7348 h 9525"/>
                <a:gd name="connsiteX1" fmla="*/ 337866 w 342900"/>
                <a:gd name="connsiteY1" fmla="*/ 7348 h 9525"/>
              </a:gdLst>
              <a:ahLst/>
              <a:cxnLst>
                <a:cxn ang="0">
                  <a:pos x="connsiteX0" y="connsiteY0"/>
                </a:cxn>
                <a:cxn ang="0">
                  <a:pos x="connsiteX1" y="connsiteY1"/>
                </a:cxn>
              </a:cxnLst>
              <a:rect l="l" t="t" r="r" b="b"/>
              <a:pathLst>
                <a:path w="342900" h="9525">
                  <a:moveTo>
                    <a:pt x="7348" y="7348"/>
                  </a:moveTo>
                  <a:lnTo>
                    <a:pt x="33786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5" name="Group 54">
            <a:extLst>
              <a:ext uri="{FF2B5EF4-FFF2-40B4-BE49-F238E27FC236}">
                <a16:creationId xmlns:a16="http://schemas.microsoft.com/office/drawing/2014/main" id="{68BE0919-19C8-4425-BBFB-E8E054CA12F7}"/>
              </a:ext>
            </a:extLst>
          </p:cNvPr>
          <p:cNvGrpSpPr/>
          <p:nvPr/>
        </p:nvGrpSpPr>
        <p:grpSpPr>
          <a:xfrm>
            <a:off x="367003" y="3172735"/>
            <a:ext cx="379318" cy="303185"/>
            <a:chOff x="2533828" y="3717460"/>
            <a:chExt cx="655893" cy="524250"/>
          </a:xfrm>
        </p:grpSpPr>
        <p:grpSp>
          <p:nvGrpSpPr>
            <p:cNvPr id="56" name="Group 55">
              <a:extLst>
                <a:ext uri="{FF2B5EF4-FFF2-40B4-BE49-F238E27FC236}">
                  <a16:creationId xmlns:a16="http://schemas.microsoft.com/office/drawing/2014/main" id="{60D75A7A-0F60-446C-8965-859D2F24964B}"/>
                </a:ext>
              </a:extLst>
            </p:cNvPr>
            <p:cNvGrpSpPr/>
            <p:nvPr/>
          </p:nvGrpSpPr>
          <p:grpSpPr>
            <a:xfrm>
              <a:off x="2533828" y="3878938"/>
              <a:ext cx="351436" cy="362772"/>
              <a:chOff x="6979556" y="4967290"/>
              <a:chExt cx="295275" cy="304800"/>
            </a:xfrm>
          </p:grpSpPr>
          <p:sp>
            <p:nvSpPr>
              <p:cNvPr id="60" name="Freeform: Shape 59">
                <a:extLst>
                  <a:ext uri="{FF2B5EF4-FFF2-40B4-BE49-F238E27FC236}">
                    <a16:creationId xmlns:a16="http://schemas.microsoft.com/office/drawing/2014/main" id="{06558196-AC22-4970-AE21-60AE89A1505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9D8C6B53-0A8A-4E56-B554-295B318D35F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7" name="Group 56">
              <a:extLst>
                <a:ext uri="{FF2B5EF4-FFF2-40B4-BE49-F238E27FC236}">
                  <a16:creationId xmlns:a16="http://schemas.microsoft.com/office/drawing/2014/main" id="{687B7953-ED63-43F3-A808-D9077942C8D6}"/>
                </a:ext>
              </a:extLst>
            </p:cNvPr>
            <p:cNvGrpSpPr/>
            <p:nvPr/>
          </p:nvGrpSpPr>
          <p:grpSpPr>
            <a:xfrm>
              <a:off x="2900401" y="3717460"/>
              <a:ext cx="289320" cy="298652"/>
              <a:chOff x="6979556" y="4967290"/>
              <a:chExt cx="295275" cy="304800"/>
            </a:xfrm>
          </p:grpSpPr>
          <p:sp>
            <p:nvSpPr>
              <p:cNvPr id="58" name="Freeform: Shape 57">
                <a:extLst>
                  <a:ext uri="{FF2B5EF4-FFF2-40B4-BE49-F238E27FC236}">
                    <a16:creationId xmlns:a16="http://schemas.microsoft.com/office/drawing/2014/main" id="{9C3797CA-2460-45F9-B13D-3D9BDAA7958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5E8FC7E0-BBE4-40F4-AA05-5CA1EEB4C99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sp>
        <p:nvSpPr>
          <p:cNvPr id="62" name="globe_2" title="Icon of a sphere made of lines">
            <a:extLst>
              <a:ext uri="{FF2B5EF4-FFF2-40B4-BE49-F238E27FC236}">
                <a16:creationId xmlns:a16="http://schemas.microsoft.com/office/drawing/2014/main" id="{6424A369-B321-4405-8AE4-9D998F2FADD5}"/>
              </a:ext>
            </a:extLst>
          </p:cNvPr>
          <p:cNvSpPr>
            <a:spLocks noChangeAspect="1" noEditPoints="1"/>
          </p:cNvSpPr>
          <p:nvPr/>
        </p:nvSpPr>
        <p:spPr bwMode="auto">
          <a:xfrm>
            <a:off x="374849" y="4046575"/>
            <a:ext cx="363626" cy="363626"/>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gradFill>
              <a:latin typeface="Segoe UI"/>
            </a:endParaRPr>
          </a:p>
        </p:txBody>
      </p:sp>
      <p:sp>
        <p:nvSpPr>
          <p:cNvPr id="2" name="TextBox 1">
            <a:extLst>
              <a:ext uri="{FF2B5EF4-FFF2-40B4-BE49-F238E27FC236}">
                <a16:creationId xmlns:a16="http://schemas.microsoft.com/office/drawing/2014/main" id="{CB869F3F-35EF-46E7-A1C0-E267C1A8A670}"/>
              </a:ext>
            </a:extLst>
          </p:cNvPr>
          <p:cNvSpPr txBox="1"/>
          <p:nvPr/>
        </p:nvSpPr>
        <p:spPr>
          <a:xfrm>
            <a:off x="959157" y="962893"/>
            <a:ext cx="3870946" cy="84049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Allows Power Apps and Power Automate to reach on-premises resources for hybrid integration scenarios. </a:t>
            </a:r>
            <a:endParaRPr lang="en-US" sz="1350">
              <a:solidFill>
                <a:schemeClr val="bg1"/>
              </a:solidFill>
              <a:latin typeface="Segoe UI"/>
            </a:endParaRPr>
          </a:p>
        </p:txBody>
      </p:sp>
      <p:sp>
        <p:nvSpPr>
          <p:cNvPr id="39" name="TextBox 38">
            <a:extLst>
              <a:ext uri="{FF2B5EF4-FFF2-40B4-BE49-F238E27FC236}">
                <a16:creationId xmlns:a16="http://schemas.microsoft.com/office/drawing/2014/main" id="{3413844E-D73A-43D4-BFD6-460DA8986A78}"/>
              </a:ext>
            </a:extLst>
          </p:cNvPr>
          <p:cNvSpPr txBox="1"/>
          <p:nvPr/>
        </p:nvSpPr>
        <p:spPr>
          <a:xfrm>
            <a:off x="957136" y="1787560"/>
            <a:ext cx="3960305" cy="63274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Leverages Azure Service Bus relay technology to securely allow access to on-premises resources.</a:t>
            </a:r>
          </a:p>
        </p:txBody>
      </p:sp>
      <p:sp>
        <p:nvSpPr>
          <p:cNvPr id="40" name="TextBox 39">
            <a:extLst>
              <a:ext uri="{FF2B5EF4-FFF2-40B4-BE49-F238E27FC236}">
                <a16:creationId xmlns:a16="http://schemas.microsoft.com/office/drawing/2014/main" id="{D29EFAFA-FF56-45C3-8743-F90CBD6F0B78}"/>
              </a:ext>
            </a:extLst>
          </p:cNvPr>
          <p:cNvSpPr txBox="1"/>
          <p:nvPr/>
        </p:nvSpPr>
        <p:spPr>
          <a:xfrm>
            <a:off x="957135" y="2450911"/>
            <a:ext cx="3941899" cy="591192"/>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The gateway service must run on a local server in your on-premises location</a:t>
            </a:r>
            <a:endParaRPr lang="en-US" sz="1350">
              <a:solidFill>
                <a:schemeClr val="bg1"/>
              </a:solidFill>
              <a:latin typeface="Segoe UI"/>
            </a:endParaRPr>
          </a:p>
        </p:txBody>
      </p:sp>
      <p:sp>
        <p:nvSpPr>
          <p:cNvPr id="63" name="TextBox 62">
            <a:extLst>
              <a:ext uri="{FF2B5EF4-FFF2-40B4-BE49-F238E27FC236}">
                <a16:creationId xmlns:a16="http://schemas.microsoft.com/office/drawing/2014/main" id="{C5289E6A-5155-4747-A6D5-9859906026BE}"/>
              </a:ext>
            </a:extLst>
          </p:cNvPr>
          <p:cNvSpPr txBox="1"/>
          <p:nvPr/>
        </p:nvSpPr>
        <p:spPr>
          <a:xfrm>
            <a:off x="957136" y="3004783"/>
            <a:ext cx="3960305" cy="778166"/>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Setting up a data source on the gateway requires credentials that are encrypted securely. All access to data uses these creds</a:t>
            </a:r>
            <a:endParaRPr lang="en-US" sz="1350">
              <a:solidFill>
                <a:schemeClr val="bg1"/>
              </a:solidFill>
              <a:latin typeface="Segoe UI"/>
            </a:endParaRPr>
          </a:p>
        </p:txBody>
      </p:sp>
      <p:sp>
        <p:nvSpPr>
          <p:cNvPr id="65" name="TextBox 64">
            <a:extLst>
              <a:ext uri="{FF2B5EF4-FFF2-40B4-BE49-F238E27FC236}">
                <a16:creationId xmlns:a16="http://schemas.microsoft.com/office/drawing/2014/main" id="{1B1D2AA4-DF49-48FD-AEE3-514881AD0CA8}"/>
              </a:ext>
            </a:extLst>
          </p:cNvPr>
          <p:cNvSpPr txBox="1"/>
          <p:nvPr/>
        </p:nvSpPr>
        <p:spPr>
          <a:xfrm>
            <a:off x="946586" y="3884665"/>
            <a:ext cx="3785727" cy="1255989"/>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The gateway service creates an outbound connection to Azure Service Bus on ports: TCP 443(default), 5671, 5672, 9350 through 9354.</a:t>
            </a:r>
          </a:p>
          <a:p>
            <a:br>
              <a:rPr lang="en-US" sz="1350">
                <a:solidFill>
                  <a:schemeClr val="bg1"/>
                </a:solidFill>
              </a:rPr>
            </a:br>
            <a:endParaRPr lang="en-US" sz="1350">
              <a:solidFill>
                <a:schemeClr val="bg1"/>
              </a:solidFill>
              <a:latin typeface="Segoe UI"/>
            </a:endParaRPr>
          </a:p>
        </p:txBody>
      </p:sp>
      <p:sp>
        <p:nvSpPr>
          <p:cNvPr id="69" name="Freeform: Shape 68">
            <a:extLst>
              <a:ext uri="{FF2B5EF4-FFF2-40B4-BE49-F238E27FC236}">
                <a16:creationId xmlns:a16="http://schemas.microsoft.com/office/drawing/2014/main" id="{E273643A-8E2A-451A-B94A-A6ED833942D0}"/>
              </a:ext>
            </a:extLst>
          </p:cNvPr>
          <p:cNvSpPr/>
          <p:nvPr/>
        </p:nvSpPr>
        <p:spPr>
          <a:xfrm flipH="1">
            <a:off x="4784100" y="1136243"/>
            <a:ext cx="4441601" cy="3356877"/>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14338" name="Picture 2">
            <a:extLst>
              <a:ext uri="{FF2B5EF4-FFF2-40B4-BE49-F238E27FC236}">
                <a16:creationId xmlns:a16="http://schemas.microsoft.com/office/drawing/2014/main" id="{E3C17794-5C4A-41F0-947F-010F3F25C62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955716" y="1265858"/>
            <a:ext cx="4115901" cy="3086926"/>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Door Open">
            <a:extLst>
              <a:ext uri="{FF2B5EF4-FFF2-40B4-BE49-F238E27FC236}">
                <a16:creationId xmlns:a16="http://schemas.microsoft.com/office/drawing/2014/main" id="{C8014349-D1FA-46F4-B616-A3D85D0F9A6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49183" y="1125889"/>
            <a:ext cx="435551" cy="435551"/>
          </a:xfrm>
          <a:prstGeom prst="rect">
            <a:avLst/>
          </a:prstGeom>
        </p:spPr>
      </p:pic>
    </p:spTree>
    <p:extLst>
      <p:ext uri="{BB962C8B-B14F-4D97-AF65-F5344CB8AC3E}">
        <p14:creationId xmlns:p14="http://schemas.microsoft.com/office/powerpoint/2010/main" val="41607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9948D-741D-4AAC-8F43-D999997B17B6}"/>
              </a:ext>
            </a:extLst>
          </p:cNvPr>
          <p:cNvSpPr>
            <a:spLocks noGrp="1"/>
          </p:cNvSpPr>
          <p:nvPr>
            <p:ph type="title"/>
          </p:nvPr>
        </p:nvSpPr>
        <p:spPr/>
        <p:txBody>
          <a:bodyPr/>
          <a:lstStyle/>
          <a:p>
            <a:pPr algn="ctr"/>
            <a:r>
              <a:rPr lang="de-DE" sz="2025" err="1">
                <a:cs typeface="Segoe UI"/>
              </a:rPr>
              <a:t>Our</a:t>
            </a:r>
            <a:r>
              <a:rPr lang="de-DE" sz="2025">
                <a:cs typeface="Segoe UI"/>
              </a:rPr>
              <a:t> Philosophy</a:t>
            </a:r>
            <a:endParaRPr lang="en-US" dirty="0"/>
          </a:p>
        </p:txBody>
      </p:sp>
      <p:sp>
        <p:nvSpPr>
          <p:cNvPr id="29" name="Text Placeholder 2">
            <a:extLst>
              <a:ext uri="{FF2B5EF4-FFF2-40B4-BE49-F238E27FC236}">
                <a16:creationId xmlns:a16="http://schemas.microsoft.com/office/drawing/2014/main" id="{E85C1727-8346-43EA-907A-451EA8B993FE}"/>
              </a:ext>
            </a:extLst>
          </p:cNvPr>
          <p:cNvSpPr txBox="1">
            <a:spLocks/>
          </p:cNvSpPr>
          <p:nvPr/>
        </p:nvSpPr>
        <p:spPr>
          <a:xfrm>
            <a:off x="503141" y="807600"/>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71" dirty="0">
                <a:latin typeface="Segoe UI Light" panose="020B0502040204020203" pitchFamily="34" charset="0"/>
                <a:cs typeface="Segoe UI Light" panose="020B0502040204020203" pitchFamily="34" charset="0"/>
              </a:rPr>
              <a:t>Empower anyone to be a maker, a Power Apps Champion</a:t>
            </a:r>
          </a:p>
        </p:txBody>
      </p:sp>
      <p:sp>
        <p:nvSpPr>
          <p:cNvPr id="8" name="Text Placeholder 3">
            <a:extLst>
              <a:ext uri="{FF2B5EF4-FFF2-40B4-BE49-F238E27FC236}">
                <a16:creationId xmlns:a16="http://schemas.microsoft.com/office/drawing/2014/main" id="{D4122FD7-2949-4403-AC25-7DDE02EC2777}"/>
              </a:ext>
            </a:extLst>
          </p:cNvPr>
          <p:cNvSpPr txBox="1">
            <a:spLocks/>
          </p:cNvSpPr>
          <p:nvPr/>
        </p:nvSpPr>
        <p:spPr>
          <a:xfrm>
            <a:off x="3123230" y="4197215"/>
            <a:ext cx="3149435" cy="38515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Enable an open ecosystem for building</a:t>
            </a:r>
          </a:p>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but an ecosystem that does not escalate privilege</a:t>
            </a:r>
          </a:p>
        </p:txBody>
      </p:sp>
      <p:cxnSp>
        <p:nvCxnSpPr>
          <p:cNvPr id="5" name="Straight Connector 1253">
            <a:extLst>
              <a:ext uri="{FF2B5EF4-FFF2-40B4-BE49-F238E27FC236}">
                <a16:creationId xmlns:a16="http://schemas.microsoft.com/office/drawing/2014/main" id="{0F364A92-30D7-4931-9BE2-40124E77C171}"/>
              </a:ext>
              <a:ext uri="{C183D7F6-B498-43B3-948B-1728B52AA6E4}">
                <adec:decorative xmlns:adec="http://schemas.microsoft.com/office/drawing/2017/decorative" val="1"/>
              </a:ext>
            </a:extLst>
          </p:cNvPr>
          <p:cNvCxnSpPr>
            <a:cxnSpLocks/>
          </p:cNvCxnSpPr>
          <p:nvPr/>
        </p:nvCxnSpPr>
        <p:spPr>
          <a:xfrm flipV="1">
            <a:off x="1243388" y="4397549"/>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7" name="Straight Connector 1253">
            <a:extLst>
              <a:ext uri="{FF2B5EF4-FFF2-40B4-BE49-F238E27FC236}">
                <a16:creationId xmlns:a16="http://schemas.microsoft.com/office/drawing/2014/main" id="{B1A1F23B-211C-46B1-9800-CEED642758C9}"/>
              </a:ext>
              <a:ext uri="{C183D7F6-B498-43B3-948B-1728B52AA6E4}">
                <adec:decorative xmlns:adec="http://schemas.microsoft.com/office/drawing/2017/decorative" val="1"/>
              </a:ext>
            </a:extLst>
          </p:cNvPr>
          <p:cNvCxnSpPr>
            <a:cxnSpLocks/>
          </p:cNvCxnSpPr>
          <p:nvPr/>
        </p:nvCxnSpPr>
        <p:spPr>
          <a:xfrm flipV="1">
            <a:off x="3943687" y="3205213"/>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 name="Straight Connector 1253">
            <a:extLst>
              <a:ext uri="{FF2B5EF4-FFF2-40B4-BE49-F238E27FC236}">
                <a16:creationId xmlns:a16="http://schemas.microsoft.com/office/drawing/2014/main" id="{649C2542-5098-49BC-B135-A975AEFFD293}"/>
              </a:ext>
              <a:ext uri="{C183D7F6-B498-43B3-948B-1728B52AA6E4}">
                <adec:decorative xmlns:adec="http://schemas.microsoft.com/office/drawing/2017/decorative" val="1"/>
              </a:ext>
            </a:extLst>
          </p:cNvPr>
          <p:cNvCxnSpPr>
            <a:cxnSpLocks/>
          </p:cNvCxnSpPr>
          <p:nvPr/>
        </p:nvCxnSpPr>
        <p:spPr>
          <a:xfrm flipV="1">
            <a:off x="5322691" y="3225627"/>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1" name="Straight Connector 1253">
            <a:extLst>
              <a:ext uri="{FF2B5EF4-FFF2-40B4-BE49-F238E27FC236}">
                <a16:creationId xmlns:a16="http://schemas.microsoft.com/office/drawing/2014/main" id="{927D5617-1D08-4022-8F47-792F5AA72DA4}"/>
              </a:ext>
              <a:ext uri="{C183D7F6-B498-43B3-948B-1728B52AA6E4}">
                <adec:decorative xmlns:adec="http://schemas.microsoft.com/office/drawing/2017/decorative" val="1"/>
              </a:ext>
            </a:extLst>
          </p:cNvPr>
          <p:cNvCxnSpPr>
            <a:cxnSpLocks/>
          </p:cNvCxnSpPr>
          <p:nvPr/>
        </p:nvCxnSpPr>
        <p:spPr>
          <a:xfrm flipV="1">
            <a:off x="6688300" y="359088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2" name="Straight Connector 1253">
            <a:extLst>
              <a:ext uri="{FF2B5EF4-FFF2-40B4-BE49-F238E27FC236}">
                <a16:creationId xmlns:a16="http://schemas.microsoft.com/office/drawing/2014/main" id="{948E1865-21AE-4D8C-AC6D-0CBBA34155AE}"/>
              </a:ext>
              <a:ext uri="{C183D7F6-B498-43B3-948B-1728B52AA6E4}">
                <adec:decorative xmlns:adec="http://schemas.microsoft.com/office/drawing/2017/decorative" val="1"/>
              </a:ext>
            </a:extLst>
          </p:cNvPr>
          <p:cNvCxnSpPr>
            <a:cxnSpLocks/>
          </p:cNvCxnSpPr>
          <p:nvPr/>
        </p:nvCxnSpPr>
        <p:spPr>
          <a:xfrm flipV="1">
            <a:off x="2586995" y="358200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4" name="Straight Connector 1253">
            <a:extLst>
              <a:ext uri="{FF2B5EF4-FFF2-40B4-BE49-F238E27FC236}">
                <a16:creationId xmlns:a16="http://schemas.microsoft.com/office/drawing/2014/main" id="{0E6BC9AC-47DB-47AD-8482-1B3B4A7EEA6E}"/>
              </a:ext>
              <a:ext uri="{C183D7F6-B498-43B3-948B-1728B52AA6E4}">
                <adec:decorative xmlns:adec="http://schemas.microsoft.com/office/drawing/2017/decorative" val="1"/>
              </a:ext>
            </a:extLst>
          </p:cNvPr>
          <p:cNvCxnSpPr>
            <a:cxnSpLocks/>
          </p:cNvCxnSpPr>
          <p:nvPr/>
        </p:nvCxnSpPr>
        <p:spPr>
          <a:xfrm flipV="1">
            <a:off x="7977580" y="434611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16" name="Oval 15">
            <a:extLst>
              <a:ext uri="{FF2B5EF4-FFF2-40B4-BE49-F238E27FC236}">
                <a16:creationId xmlns:a16="http://schemas.microsoft.com/office/drawing/2014/main" id="{3A6878BD-057C-422D-9EA3-59F3F0E9C746}"/>
              </a:ext>
              <a:ext uri="{C183D7F6-B498-43B3-948B-1728B52AA6E4}">
                <adec:decorative xmlns:adec="http://schemas.microsoft.com/office/drawing/2017/decorative" val="1"/>
              </a:ext>
            </a:extLst>
          </p:cNvPr>
          <p:cNvSpPr/>
          <p:nvPr/>
        </p:nvSpPr>
        <p:spPr bwMode="auto">
          <a:xfrm>
            <a:off x="-791689" y="3690156"/>
            <a:ext cx="10849576" cy="10849576"/>
          </a:xfrm>
          <a:prstGeom prst="ellipse">
            <a:avLst/>
          </a:prstGeom>
          <a:noFill/>
          <a:ln w="25400">
            <a:solidFill>
              <a:srgbClr val="74277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7E9AEFF5-835A-48A3-A941-BF8E3721C41C}"/>
              </a:ext>
              <a:ext uri="{C183D7F6-B498-43B3-948B-1728B52AA6E4}">
                <adec:decorative xmlns:adec="http://schemas.microsoft.com/office/drawing/2017/decorative" val="1"/>
              </a:ext>
            </a:extLst>
          </p:cNvPr>
          <p:cNvCxnSpPr>
            <a:cxnSpLocks/>
          </p:cNvCxnSpPr>
          <p:nvPr/>
        </p:nvCxnSpPr>
        <p:spPr>
          <a:xfrm>
            <a:off x="1065877" y="4375499"/>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85ED0B5-D4B3-4F01-B58A-F39D5157B154}"/>
              </a:ext>
              <a:ext uri="{C183D7F6-B498-43B3-948B-1728B52AA6E4}">
                <adec:decorative xmlns:adec="http://schemas.microsoft.com/office/drawing/2017/decorative" val="1"/>
              </a:ext>
            </a:extLst>
          </p:cNvPr>
          <p:cNvCxnSpPr>
            <a:cxnSpLocks/>
          </p:cNvCxnSpPr>
          <p:nvPr/>
        </p:nvCxnSpPr>
        <p:spPr>
          <a:xfrm>
            <a:off x="2410514" y="3554875"/>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652C52-F39E-45DB-BC63-8D565E96E99E}"/>
              </a:ext>
              <a:ext uri="{C183D7F6-B498-43B3-948B-1728B52AA6E4}">
                <adec:decorative xmlns:adec="http://schemas.microsoft.com/office/drawing/2017/decorative" val="1"/>
              </a:ext>
            </a:extLst>
          </p:cNvPr>
          <p:cNvCxnSpPr>
            <a:cxnSpLocks/>
          </p:cNvCxnSpPr>
          <p:nvPr/>
        </p:nvCxnSpPr>
        <p:spPr>
          <a:xfrm>
            <a:off x="3774926" y="3179168"/>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B4B3DA8-48C9-4089-A15A-23C50149F2D5}"/>
              </a:ext>
              <a:ext uri="{C183D7F6-B498-43B3-948B-1728B52AA6E4}">
                <adec:decorative xmlns:adec="http://schemas.microsoft.com/office/drawing/2017/decorative" val="1"/>
              </a:ext>
            </a:extLst>
          </p:cNvPr>
          <p:cNvCxnSpPr>
            <a:cxnSpLocks/>
          </p:cNvCxnSpPr>
          <p:nvPr/>
        </p:nvCxnSpPr>
        <p:spPr>
          <a:xfrm>
            <a:off x="5139337" y="3198941"/>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397346B-4835-4583-81D5-6B63003382A3}"/>
              </a:ext>
              <a:ext uri="{C183D7F6-B498-43B3-948B-1728B52AA6E4}">
                <adec:decorative xmlns:adec="http://schemas.microsoft.com/office/drawing/2017/decorative" val="1"/>
              </a:ext>
            </a:extLst>
          </p:cNvPr>
          <p:cNvCxnSpPr>
            <a:cxnSpLocks/>
          </p:cNvCxnSpPr>
          <p:nvPr/>
        </p:nvCxnSpPr>
        <p:spPr>
          <a:xfrm>
            <a:off x="6503748" y="3564762"/>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87FD613-4CF8-4D92-AB4C-D64611051123}"/>
              </a:ext>
              <a:ext uri="{C183D7F6-B498-43B3-948B-1728B52AA6E4}">
                <adec:decorative xmlns:adec="http://schemas.microsoft.com/office/drawing/2017/decorative" val="1"/>
              </a:ext>
            </a:extLst>
          </p:cNvPr>
          <p:cNvCxnSpPr>
            <a:cxnSpLocks/>
          </p:cNvCxnSpPr>
          <p:nvPr/>
        </p:nvCxnSpPr>
        <p:spPr>
          <a:xfrm>
            <a:off x="7789064" y="4326064"/>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3" name="Picture 5" descr="PowerApps Champ Remi Delaboulas - Photo">
            <a:extLst>
              <a:ext uri="{FF2B5EF4-FFF2-40B4-BE49-F238E27FC236}">
                <a16:creationId xmlns:a16="http://schemas.microsoft.com/office/drawing/2014/main" id="{3F23340B-32DD-492D-AFF5-0DB021657FE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92894" y="2163244"/>
            <a:ext cx="659593" cy="945000"/>
          </a:xfrm>
          <a:prstGeom prst="rect">
            <a:avLst/>
          </a:prstGeom>
        </p:spPr>
      </p:pic>
      <p:pic>
        <p:nvPicPr>
          <p:cNvPr id="34" name="Picture 6" descr="PowerAps Champ Eric McKinney - Photo">
            <a:extLst>
              <a:ext uri="{FF2B5EF4-FFF2-40B4-BE49-F238E27FC236}">
                <a16:creationId xmlns:a16="http://schemas.microsoft.com/office/drawing/2014/main" id="{B5CE2D64-9CC1-43AA-B210-4470D06468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29519" y="2557065"/>
            <a:ext cx="659593" cy="945000"/>
          </a:xfrm>
          <a:prstGeom prst="rect">
            <a:avLst/>
          </a:prstGeom>
        </p:spPr>
      </p:pic>
      <p:pic>
        <p:nvPicPr>
          <p:cNvPr id="35" name="Picture 7" descr="PowerApps Champ Ludovic Malondra - Photo">
            <a:extLst>
              <a:ext uri="{FF2B5EF4-FFF2-40B4-BE49-F238E27FC236}">
                <a16:creationId xmlns:a16="http://schemas.microsoft.com/office/drawing/2014/main" id="{985C4256-E62B-483A-A87B-7C9692A5066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58492" y="2557065"/>
            <a:ext cx="659594" cy="945000"/>
          </a:xfrm>
          <a:prstGeom prst="rect">
            <a:avLst/>
          </a:prstGeom>
        </p:spPr>
      </p:pic>
      <p:pic>
        <p:nvPicPr>
          <p:cNvPr id="36" name="Picture 8" descr="Powerapps Champ Vanessa Welgemoed - Photo">
            <a:extLst>
              <a:ext uri="{FF2B5EF4-FFF2-40B4-BE49-F238E27FC236}">
                <a16:creationId xmlns:a16="http://schemas.microsoft.com/office/drawing/2014/main" id="{E4EC13C3-EC82-47D5-BD5C-8540227CFF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13890" y="2158753"/>
            <a:ext cx="659593" cy="945000"/>
          </a:xfrm>
          <a:prstGeom prst="rect">
            <a:avLst/>
          </a:prstGeom>
        </p:spPr>
      </p:pic>
      <p:pic>
        <p:nvPicPr>
          <p:cNvPr id="38" name="Picture 11" descr="PowerApps Champ Samit Sani - Photo">
            <a:extLst>
              <a:ext uri="{FF2B5EF4-FFF2-40B4-BE49-F238E27FC236}">
                <a16:creationId xmlns:a16="http://schemas.microsoft.com/office/drawing/2014/main" id="{AF16A8F5-189A-4662-BE91-D68E661B60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2083" y="3314980"/>
            <a:ext cx="673962" cy="945000"/>
          </a:xfrm>
          <a:prstGeom prst="rect">
            <a:avLst/>
          </a:prstGeom>
        </p:spPr>
      </p:pic>
      <p:pic>
        <p:nvPicPr>
          <p:cNvPr id="39" name="Picture 14" descr="PowerApps Champ Nick Gill - Photo">
            <a:extLst>
              <a:ext uri="{FF2B5EF4-FFF2-40B4-BE49-F238E27FC236}">
                <a16:creationId xmlns:a16="http://schemas.microsoft.com/office/drawing/2014/main" id="{632AABDD-344A-436D-8221-FD853A3A4F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8365" y="2557066"/>
            <a:ext cx="673961" cy="945000"/>
          </a:xfrm>
          <a:prstGeom prst="rect">
            <a:avLst/>
          </a:prstGeom>
        </p:spPr>
      </p:pic>
      <p:pic>
        <p:nvPicPr>
          <p:cNvPr id="40" name="Picture 15" descr="PowerApps Champ Martin Lee - Photo">
            <a:extLst>
              <a:ext uri="{FF2B5EF4-FFF2-40B4-BE49-F238E27FC236}">
                <a16:creationId xmlns:a16="http://schemas.microsoft.com/office/drawing/2014/main" id="{B65ADAE9-7002-4386-A50B-A81A781220F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00224" y="2559120"/>
            <a:ext cx="673961" cy="945000"/>
          </a:xfrm>
          <a:prstGeom prst="rect">
            <a:avLst/>
          </a:prstGeom>
        </p:spPr>
      </p:pic>
      <p:pic>
        <p:nvPicPr>
          <p:cNvPr id="30" name="Picture 18" descr="PowerApps Champ Lauren Taylor - Photo">
            <a:extLst>
              <a:ext uri="{FF2B5EF4-FFF2-40B4-BE49-F238E27FC236}">
                <a16:creationId xmlns:a16="http://schemas.microsoft.com/office/drawing/2014/main" id="{2E2627D1-1A2F-43DF-9A31-76B4440AC92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876"/>
          <a:stretch/>
        </p:blipFill>
        <p:spPr>
          <a:xfrm>
            <a:off x="503141" y="3352507"/>
            <a:ext cx="675000" cy="945000"/>
          </a:xfrm>
          <a:prstGeom prst="rect">
            <a:avLst/>
          </a:prstGeom>
        </p:spPr>
      </p:pic>
      <p:pic>
        <p:nvPicPr>
          <p:cNvPr id="31" name="Picture 20" descr="PowerApps Champc Kent Weare - Photo">
            <a:extLst>
              <a:ext uri="{FF2B5EF4-FFF2-40B4-BE49-F238E27FC236}">
                <a16:creationId xmlns:a16="http://schemas.microsoft.com/office/drawing/2014/main" id="{C7C1C0F0-EE68-4EE0-BD45-E70FDEA931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570" r="371"/>
          <a:stretch/>
        </p:blipFill>
        <p:spPr>
          <a:xfrm>
            <a:off x="1239862" y="3350064"/>
            <a:ext cx="673599" cy="945000"/>
          </a:xfrm>
          <a:prstGeom prst="rect">
            <a:avLst/>
          </a:prstGeom>
        </p:spPr>
      </p:pic>
      <p:pic>
        <p:nvPicPr>
          <p:cNvPr id="41" name="Picture 29" descr="PowerApps Champ Alan Chai - Photo">
            <a:extLst>
              <a:ext uri="{FF2B5EF4-FFF2-40B4-BE49-F238E27FC236}">
                <a16:creationId xmlns:a16="http://schemas.microsoft.com/office/drawing/2014/main" id="{9037FCE5-F24B-419B-A3D3-FC3DEFE1EAD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1396" t="-4" r="1227"/>
          <a:stretch/>
        </p:blipFill>
        <p:spPr>
          <a:xfrm>
            <a:off x="8193685" y="3308204"/>
            <a:ext cx="675330" cy="945000"/>
          </a:xfrm>
          <a:prstGeom prst="rect">
            <a:avLst/>
          </a:prstGeom>
        </p:spPr>
      </p:pic>
    </p:spTree>
    <p:extLst>
      <p:ext uri="{BB962C8B-B14F-4D97-AF65-F5344CB8AC3E}">
        <p14:creationId xmlns:p14="http://schemas.microsoft.com/office/powerpoint/2010/main" val="300871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E54967C-55FE-471F-88D1-32FB8172604E}"/>
              </a:ext>
            </a:extLst>
          </p:cNvPr>
          <p:cNvGrpSpPr/>
          <p:nvPr/>
        </p:nvGrpSpPr>
        <p:grpSpPr>
          <a:xfrm>
            <a:off x="7939872" y="-310978"/>
            <a:ext cx="1667349" cy="1376624"/>
            <a:chOff x="10308253" y="-1239842"/>
            <a:chExt cx="2954665" cy="2439479"/>
          </a:xfrm>
        </p:grpSpPr>
        <p:sp>
          <p:nvSpPr>
            <p:cNvPr id="21" name="Hexagon 20">
              <a:extLst>
                <a:ext uri="{FF2B5EF4-FFF2-40B4-BE49-F238E27FC236}">
                  <a16:creationId xmlns:a16="http://schemas.microsoft.com/office/drawing/2014/main" id="{4F662F56-B1E9-4928-BC98-6AEB55656C6B}"/>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2" name="Hexagon 21">
              <a:extLst>
                <a:ext uri="{FF2B5EF4-FFF2-40B4-BE49-F238E27FC236}">
                  <a16:creationId xmlns:a16="http://schemas.microsoft.com/office/drawing/2014/main" id="{5F467F69-CD48-4964-AAC0-5BDB64C4F1C9}"/>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F3F76BD2-BC94-4994-A9A9-9A522E1C00AF}"/>
              </a:ext>
            </a:extLst>
          </p:cNvPr>
          <p:cNvGrpSpPr/>
          <p:nvPr/>
        </p:nvGrpSpPr>
        <p:grpSpPr>
          <a:xfrm>
            <a:off x="1" y="365"/>
            <a:ext cx="6601796" cy="1025132"/>
            <a:chOff x="0" y="0"/>
            <a:chExt cx="8978900" cy="1394250"/>
          </a:xfrm>
          <a:solidFill>
            <a:schemeClr val="accent6"/>
          </a:solidFill>
        </p:grpSpPr>
        <p:sp>
          <p:nvSpPr>
            <p:cNvPr id="24" name="Freeform: Shape 23">
              <a:extLst>
                <a:ext uri="{FF2B5EF4-FFF2-40B4-BE49-F238E27FC236}">
                  <a16:creationId xmlns:a16="http://schemas.microsoft.com/office/drawing/2014/main" id="{BCECBAA9-7369-4555-89E8-9F2447DBBAD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8AA8B1C2-2D13-4389-BAE3-464FC04BDD7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grpSp>
      <p:sp>
        <p:nvSpPr>
          <p:cNvPr id="26" name="Title 1">
            <a:extLst>
              <a:ext uri="{FF2B5EF4-FFF2-40B4-BE49-F238E27FC236}">
                <a16:creationId xmlns:a16="http://schemas.microsoft.com/office/drawing/2014/main" id="{37515D8C-4AC1-423E-B130-11A006D80EF9}"/>
              </a:ext>
            </a:extLst>
          </p:cNvPr>
          <p:cNvSpPr txBox="1">
            <a:spLocks/>
          </p:cNvSpPr>
          <p:nvPr/>
        </p:nvSpPr>
        <p:spPr>
          <a:xfrm>
            <a:off x="440055" y="424055"/>
            <a:ext cx="8263890" cy="36785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r>
              <a:rPr lang="en-US" sz="2400">
                <a:solidFill>
                  <a:schemeClr val="bg1"/>
                </a:solidFill>
              </a:rPr>
              <a:t>On-premises data gateway - Capabilities</a:t>
            </a:r>
            <a:endParaRPr lang="en-US" sz="1800">
              <a:solidFill>
                <a:schemeClr val="bg1"/>
              </a:solidFill>
            </a:endParaRPr>
          </a:p>
        </p:txBody>
      </p:sp>
      <p:sp>
        <p:nvSpPr>
          <p:cNvPr id="27" name="TextBox 26">
            <a:extLst>
              <a:ext uri="{FF2B5EF4-FFF2-40B4-BE49-F238E27FC236}">
                <a16:creationId xmlns:a16="http://schemas.microsoft.com/office/drawing/2014/main" id="{B6656C13-7C16-419A-8B4D-F2794E9B9CCC}"/>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grpSp>
        <p:nvGrpSpPr>
          <p:cNvPr id="28" name="Group 27">
            <a:extLst>
              <a:ext uri="{FF2B5EF4-FFF2-40B4-BE49-F238E27FC236}">
                <a16:creationId xmlns:a16="http://schemas.microsoft.com/office/drawing/2014/main" id="{6D8243AB-6DDD-44ED-A496-4C6D9168200E}"/>
              </a:ext>
            </a:extLst>
          </p:cNvPr>
          <p:cNvGrpSpPr/>
          <p:nvPr/>
        </p:nvGrpSpPr>
        <p:grpSpPr>
          <a:xfrm>
            <a:off x="215489" y="1235880"/>
            <a:ext cx="8713022" cy="3783506"/>
            <a:chOff x="317715" y="1420920"/>
            <a:chExt cx="11617363" cy="5044675"/>
          </a:xfrm>
        </p:grpSpPr>
        <p:grpSp>
          <p:nvGrpSpPr>
            <p:cNvPr id="29" name="Group 28">
              <a:extLst>
                <a:ext uri="{FF2B5EF4-FFF2-40B4-BE49-F238E27FC236}">
                  <a16:creationId xmlns:a16="http://schemas.microsoft.com/office/drawing/2014/main" id="{BDF90CBC-2371-4FC7-A6B3-01F703797602}"/>
                </a:ext>
              </a:extLst>
            </p:cNvPr>
            <p:cNvGrpSpPr/>
            <p:nvPr/>
          </p:nvGrpSpPr>
          <p:grpSpPr>
            <a:xfrm>
              <a:off x="6211414" y="1712633"/>
              <a:ext cx="5723664" cy="4492256"/>
              <a:chOff x="6150620" y="1660559"/>
              <a:chExt cx="5723664" cy="4492256"/>
            </a:xfrm>
          </p:grpSpPr>
          <p:pic>
            <p:nvPicPr>
              <p:cNvPr id="37" name="Picture 2" descr="Manage users">
                <a:extLst>
                  <a:ext uri="{FF2B5EF4-FFF2-40B4-BE49-F238E27FC236}">
                    <a16:creationId xmlns:a16="http://schemas.microsoft.com/office/drawing/2014/main" id="{2C4A1EE5-8CCE-49C8-B963-86F4E05DBD6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50620" y="1660559"/>
                <a:ext cx="5723664" cy="3892092"/>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262E6C2-21A8-4554-B6D5-2C1EE17C1EA2}"/>
                  </a:ext>
                </a:extLst>
              </p:cNvPr>
              <p:cNvSpPr txBox="1"/>
              <p:nvPr/>
            </p:nvSpPr>
            <p:spPr>
              <a:xfrm>
                <a:off x="6150620" y="5552651"/>
                <a:ext cx="5723664"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users in 3 different categories (admins, can use, and can use + share).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grpSp>
          <p:nvGrpSpPr>
            <p:cNvPr id="30" name="Group 29">
              <a:extLst>
                <a:ext uri="{FF2B5EF4-FFF2-40B4-BE49-F238E27FC236}">
                  <a16:creationId xmlns:a16="http://schemas.microsoft.com/office/drawing/2014/main" id="{107B4CE1-016A-4D67-86BE-F6BC90E3EBB3}"/>
                </a:ext>
              </a:extLst>
            </p:cNvPr>
            <p:cNvGrpSpPr/>
            <p:nvPr/>
          </p:nvGrpSpPr>
          <p:grpSpPr>
            <a:xfrm>
              <a:off x="317715" y="1420920"/>
              <a:ext cx="5713135" cy="5044675"/>
              <a:chOff x="317715" y="1420920"/>
              <a:chExt cx="5713135" cy="5044675"/>
            </a:xfrm>
          </p:grpSpPr>
          <p:pic>
            <p:nvPicPr>
              <p:cNvPr id="31" name="Picture 2" descr="On-premises gateway page">
                <a:extLst>
                  <a:ext uri="{FF2B5EF4-FFF2-40B4-BE49-F238E27FC236}">
                    <a16:creationId xmlns:a16="http://schemas.microsoft.com/office/drawing/2014/main" id="{0D2CB2ED-CB4C-4777-8459-82C10AB42A94}"/>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b="17384"/>
              <a:stretch/>
            </p:blipFill>
            <p:spPr bwMode="auto">
              <a:xfrm>
                <a:off x="317715" y="1420920"/>
                <a:ext cx="5713135" cy="1663797"/>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928F5ED7-AFFE-4520-B8AB-22B0814805B9}"/>
                  </a:ext>
                </a:extLst>
              </p:cNvPr>
              <p:cNvSpPr txBox="1"/>
              <p:nvPr/>
            </p:nvSpPr>
            <p:spPr>
              <a:xfrm>
                <a:off x="317715" y="3084717"/>
                <a:ext cx="5713135"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gateways entirely in the Power Platform admin center.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nvGrpSpPr>
              <p:cNvPr id="33" name="Group 32">
                <a:extLst>
                  <a:ext uri="{FF2B5EF4-FFF2-40B4-BE49-F238E27FC236}">
                    <a16:creationId xmlns:a16="http://schemas.microsoft.com/office/drawing/2014/main" id="{ADD05CDF-0BA2-4010-A372-0A7A7900A5DA}"/>
                  </a:ext>
                </a:extLst>
              </p:cNvPr>
              <p:cNvGrpSpPr/>
              <p:nvPr/>
            </p:nvGrpSpPr>
            <p:grpSpPr>
              <a:xfrm>
                <a:off x="753221" y="3822386"/>
                <a:ext cx="4793432" cy="2043044"/>
                <a:chOff x="586740" y="3684881"/>
                <a:chExt cx="4793432" cy="2043044"/>
              </a:xfrm>
            </p:grpSpPr>
            <p:pic>
              <p:nvPicPr>
                <p:cNvPr id="35" name="Picture 4" descr="Enable restrict users">
                  <a:extLst>
                    <a:ext uri="{FF2B5EF4-FFF2-40B4-BE49-F238E27FC236}">
                      <a16:creationId xmlns:a16="http://schemas.microsoft.com/office/drawing/2014/main" id="{1F6D90A6-41C3-4444-9556-60EABF8ABE4A}"/>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b="30455"/>
                <a:stretch/>
              </p:blipFill>
              <p:spPr bwMode="auto">
                <a:xfrm>
                  <a:off x="3186883" y="3684881"/>
                  <a:ext cx="2193289"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6" name="Picture 6" descr="Manage Gateway installers">
                  <a:extLst>
                    <a:ext uri="{FF2B5EF4-FFF2-40B4-BE49-F238E27FC236}">
                      <a16:creationId xmlns:a16="http://schemas.microsoft.com/office/drawing/2014/main" id="{FBC6F51C-29A5-476B-91FC-594D2A60747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86740" y="3684881"/>
                  <a:ext cx="2514516"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67DD605A-351A-4EA8-B345-3262389A50C3}"/>
                  </a:ext>
                </a:extLst>
              </p:cNvPr>
              <p:cNvSpPr txBox="1"/>
              <p:nvPr/>
            </p:nvSpPr>
            <p:spPr>
              <a:xfrm>
                <a:off x="753220" y="5865431"/>
                <a:ext cx="4793432"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a:t>
                </a:r>
                <a:r>
                  <a:rPr lang="en-US" sz="825" b="1">
                    <a:solidFill>
                      <a:srgbClr val="171717"/>
                    </a:solidFill>
                  </a:rPr>
                  <a:t>Manage who can install the on-premises data gateway in your enterprise. Learn more </a:t>
                </a:r>
                <a:r>
                  <a:rPr lang="en-US" sz="825" b="1">
                    <a:solidFill>
                      <a:srgbClr val="171717"/>
                    </a:solidFill>
                    <a:hlinkClick r:id="rId4"/>
                  </a:rPr>
                  <a:t>here</a:t>
                </a:r>
                <a:r>
                  <a:rPr lang="en-US" sz="825" b="1">
                    <a:solidFill>
                      <a:srgbClr val="171717"/>
                    </a:solidFill>
                  </a:rPr>
                  <a:t>.</a:t>
                </a:r>
                <a:endParaRPr lang="en-US" sz="825" b="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7439284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6FAD6-CEC1-4818-A76D-1848770EDFEF}"/>
              </a:ext>
            </a:extLst>
          </p:cNvPr>
          <p:cNvSpPr>
            <a:spLocks noGrp="1"/>
          </p:cNvSpPr>
          <p:nvPr>
            <p:ph type="title"/>
          </p:nvPr>
        </p:nvSpPr>
        <p:spPr/>
        <p:txBody>
          <a:bodyPr/>
          <a:lstStyle/>
          <a:p>
            <a:r>
              <a:rPr lang="de-DE" sz="2025" dirty="0">
                <a:cs typeface="Segoe UI"/>
              </a:rPr>
              <a:t>Our philosophy includes Governance</a:t>
            </a:r>
            <a:endParaRPr lang="en-US" sz="2025" dirty="0">
              <a:cs typeface="Segoe UI"/>
            </a:endParaRPr>
          </a:p>
        </p:txBody>
      </p:sp>
      <p:sp>
        <p:nvSpPr>
          <p:cNvPr id="16" name="Rectangle 1231">
            <a:extLst>
              <a:ext uri="{FF2B5EF4-FFF2-40B4-BE49-F238E27FC236}">
                <a16:creationId xmlns:a16="http://schemas.microsoft.com/office/drawing/2014/main" id="{106B0F17-96B5-4EAE-A017-7A0184E83F51}"/>
              </a:ext>
            </a:extLst>
          </p:cNvPr>
          <p:cNvSpPr/>
          <p:nvPr/>
        </p:nvSpPr>
        <p:spPr>
          <a:xfrm>
            <a:off x="1163716"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Business</a:t>
            </a:r>
          </a:p>
        </p:txBody>
      </p:sp>
      <p:sp>
        <p:nvSpPr>
          <p:cNvPr id="7" name="Rectangle 6" descr="PowerApps Champ Alan Chai - Photo">
            <a:extLst>
              <a:ext uri="{FF2B5EF4-FFF2-40B4-BE49-F238E27FC236}">
                <a16:creationId xmlns:a16="http://schemas.microsoft.com/office/drawing/2014/main" id="{04959DA8-838C-4E76-9414-B091206C1262}"/>
              </a:ext>
            </a:extLst>
          </p:cNvPr>
          <p:cNvSpPr/>
          <p:nvPr/>
        </p:nvSpPr>
        <p:spPr bwMode="auto">
          <a:xfrm>
            <a:off x="1163716" y="1639792"/>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243">
            <a:extLst>
              <a:ext uri="{FF2B5EF4-FFF2-40B4-BE49-F238E27FC236}">
                <a16:creationId xmlns:a16="http://schemas.microsoft.com/office/drawing/2014/main" id="{F13F2763-46F4-4797-8E8B-9D51FEED71EE}"/>
              </a:ext>
            </a:extLst>
          </p:cNvPr>
          <p:cNvSpPr/>
          <p:nvPr/>
        </p:nvSpPr>
        <p:spPr bwMode="auto">
          <a:xfrm>
            <a:off x="3082697" y="2185085"/>
            <a:ext cx="1873911" cy="2908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Empower anyone to be a maker, </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a Power Apps Champion</a:t>
            </a:r>
          </a:p>
        </p:txBody>
      </p:sp>
      <p:cxnSp>
        <p:nvCxnSpPr>
          <p:cNvPr id="14" name="Straight Connector 1253">
            <a:extLst>
              <a:ext uri="{FF2B5EF4-FFF2-40B4-BE49-F238E27FC236}">
                <a16:creationId xmlns:a16="http://schemas.microsoft.com/office/drawing/2014/main" id="{ECB3ECE7-C56E-4674-8555-BB9A3C0AF68C}"/>
              </a:ext>
              <a:ext uri="{C183D7F6-B498-43B3-948B-1728B52AA6E4}">
                <adec:decorative xmlns:adec="http://schemas.microsoft.com/office/drawing/2017/decorative" val="1"/>
              </a:ext>
            </a:extLst>
          </p:cNvPr>
          <p:cNvCxnSpPr>
            <a:cxnSpLocks/>
          </p:cNvCxnSpPr>
          <p:nvPr/>
        </p:nvCxnSpPr>
        <p:spPr>
          <a:xfrm flipH="1">
            <a:off x="3033919" y="2060900"/>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21" name="Rectangle 1231">
            <a:extLst>
              <a:ext uri="{FF2B5EF4-FFF2-40B4-BE49-F238E27FC236}">
                <a16:creationId xmlns:a16="http://schemas.microsoft.com/office/drawing/2014/main" id="{733B3D07-3F73-475B-B230-85CEA2253D10}"/>
              </a:ext>
            </a:extLst>
          </p:cNvPr>
          <p:cNvSpPr/>
          <p:nvPr/>
        </p:nvSpPr>
        <p:spPr>
          <a:xfrm>
            <a:off x="1163716" y="3051664"/>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IT</a:t>
            </a:r>
          </a:p>
        </p:txBody>
      </p:sp>
      <p:sp>
        <p:nvSpPr>
          <p:cNvPr id="6" name="Rectangle 5" descr="PowerApps Champ Eric McKinney - Photo">
            <a:extLst>
              <a:ext uri="{FF2B5EF4-FFF2-40B4-BE49-F238E27FC236}">
                <a16:creationId xmlns:a16="http://schemas.microsoft.com/office/drawing/2014/main" id="{9A09B4BC-C161-46AB-943C-768A11D64930}"/>
              </a:ext>
            </a:extLst>
          </p:cNvPr>
          <p:cNvSpPr/>
          <p:nvPr/>
        </p:nvSpPr>
        <p:spPr bwMode="auto">
          <a:xfrm>
            <a:off x="1163716" y="3378160"/>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243">
            <a:extLst>
              <a:ext uri="{FF2B5EF4-FFF2-40B4-BE49-F238E27FC236}">
                <a16:creationId xmlns:a16="http://schemas.microsoft.com/office/drawing/2014/main" id="{CDBAD9DB-CCF0-4ED8-84CC-9C6CEC5D87BD}"/>
              </a:ext>
            </a:extLst>
          </p:cNvPr>
          <p:cNvSpPr/>
          <p:nvPr/>
        </p:nvSpPr>
        <p:spPr bwMode="auto">
          <a:xfrm>
            <a:off x="3291088" y="3886450"/>
            <a:ext cx="1457130" cy="727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But also empower admins</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full visibility an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he tools they nee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o balance productivity</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governance</a:t>
            </a:r>
          </a:p>
        </p:txBody>
      </p:sp>
      <p:cxnSp>
        <p:nvCxnSpPr>
          <p:cNvPr id="18" name="Straight Connector 1253">
            <a:extLst>
              <a:ext uri="{FF2B5EF4-FFF2-40B4-BE49-F238E27FC236}">
                <a16:creationId xmlns:a16="http://schemas.microsoft.com/office/drawing/2014/main" id="{8148ECCF-653D-43B1-9D75-1CD8DD947C4B}"/>
              </a:ext>
              <a:ext uri="{C183D7F6-B498-43B3-948B-1728B52AA6E4}">
                <adec:decorative xmlns:adec="http://schemas.microsoft.com/office/drawing/2017/decorative" val="1"/>
              </a:ext>
            </a:extLst>
          </p:cNvPr>
          <p:cNvCxnSpPr>
            <a:cxnSpLocks/>
          </p:cNvCxnSpPr>
          <p:nvPr/>
        </p:nvCxnSpPr>
        <p:spPr>
          <a:xfrm flipH="1">
            <a:off x="3033919" y="3763172"/>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33" name="Rectangle 1231">
            <a:extLst>
              <a:ext uri="{FF2B5EF4-FFF2-40B4-BE49-F238E27FC236}">
                <a16:creationId xmlns:a16="http://schemas.microsoft.com/office/drawing/2014/main" id="{C441B37D-28CC-4E59-ABAF-54FB8FC1C8E4}"/>
              </a:ext>
            </a:extLst>
          </p:cNvPr>
          <p:cNvSpPr/>
          <p:nvPr/>
        </p:nvSpPr>
        <p:spPr>
          <a:xfrm>
            <a:off x="6267868"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Cloud</a:t>
            </a:r>
          </a:p>
        </p:txBody>
      </p:sp>
      <p:sp>
        <p:nvSpPr>
          <p:cNvPr id="5" name="Rectangle 4" descr="Graphic, reads &quot;Incent the right behavior, Implement strategy early, Treat exceptions as exceptions.&quot; ">
            <a:extLst>
              <a:ext uri="{FF2B5EF4-FFF2-40B4-BE49-F238E27FC236}">
                <a16:creationId xmlns:a16="http://schemas.microsoft.com/office/drawing/2014/main" id="{9EFA7C87-9100-4D40-A511-6AACA54C9DF5}"/>
              </a:ext>
            </a:extLst>
          </p:cNvPr>
          <p:cNvSpPr/>
          <p:nvPr/>
        </p:nvSpPr>
        <p:spPr bwMode="auto">
          <a:xfrm>
            <a:off x="5694705" y="1610745"/>
            <a:ext cx="2556375" cy="280624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1243">
            <a:extLst>
              <a:ext uri="{FF2B5EF4-FFF2-40B4-BE49-F238E27FC236}">
                <a16:creationId xmlns:a16="http://schemas.microsoft.com/office/drawing/2014/main" id="{9CDC63AB-1C5C-4244-99E0-9C11F1F070E7}"/>
              </a:ext>
            </a:extLst>
          </p:cNvPr>
          <p:cNvSpPr/>
          <p:nvPr/>
        </p:nvSpPr>
        <p:spPr bwMode="auto">
          <a:xfrm>
            <a:off x="6091371" y="2305905"/>
            <a:ext cx="1671933"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Incent the right behavior</a:t>
            </a:r>
          </a:p>
        </p:txBody>
      </p:sp>
      <p:sp>
        <p:nvSpPr>
          <p:cNvPr id="29" name="Rectangle 1243">
            <a:extLst>
              <a:ext uri="{FF2B5EF4-FFF2-40B4-BE49-F238E27FC236}">
                <a16:creationId xmlns:a16="http://schemas.microsoft.com/office/drawing/2014/main" id="{52649F9E-8DD0-4253-B762-96FE589BBAF0}"/>
              </a:ext>
            </a:extLst>
          </p:cNvPr>
          <p:cNvSpPr/>
          <p:nvPr/>
        </p:nvSpPr>
        <p:spPr bwMode="auto">
          <a:xfrm>
            <a:off x="6078062" y="3207453"/>
            <a:ext cx="1686745"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200" dirty="0">
                <a:solidFill>
                  <a:srgbClr val="742773"/>
                </a:solidFill>
                <a:latin typeface="Segoe UI" panose="020B0502040204020203" pitchFamily="34" charset="0"/>
                <a:cs typeface="Segoe UI" panose="020B0502040204020203" pitchFamily="34" charset="0"/>
              </a:rPr>
              <a:t>Implement strategy early</a:t>
            </a:r>
          </a:p>
        </p:txBody>
      </p:sp>
      <p:sp>
        <p:nvSpPr>
          <p:cNvPr id="32" name="Rectangle 1243">
            <a:extLst>
              <a:ext uri="{FF2B5EF4-FFF2-40B4-BE49-F238E27FC236}">
                <a16:creationId xmlns:a16="http://schemas.microsoft.com/office/drawing/2014/main" id="{46CC5E74-4978-497D-91AC-49FE95D2E406}"/>
              </a:ext>
            </a:extLst>
          </p:cNvPr>
          <p:cNvSpPr/>
          <p:nvPr/>
        </p:nvSpPr>
        <p:spPr bwMode="auto">
          <a:xfrm>
            <a:off x="5874436" y="4059233"/>
            <a:ext cx="2041970"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Treat exceptions as exceptions</a:t>
            </a:r>
          </a:p>
        </p:txBody>
      </p:sp>
      <p:sp>
        <p:nvSpPr>
          <p:cNvPr id="31" name="transform_2">
            <a:extLst>
              <a:ext uri="{FF2B5EF4-FFF2-40B4-BE49-F238E27FC236}">
                <a16:creationId xmlns:a16="http://schemas.microsoft.com/office/drawing/2014/main" id="{DFA9E556-7463-4322-908E-6E02CD361A98}"/>
              </a:ext>
              <a:ext uri="{C183D7F6-B498-43B3-948B-1728B52AA6E4}">
                <adec:decorative xmlns:adec="http://schemas.microsoft.com/office/drawing/2017/decorative" val="1"/>
              </a:ext>
            </a:extLst>
          </p:cNvPr>
          <p:cNvSpPr>
            <a:spLocks noChangeAspect="1" noEditPoints="1"/>
          </p:cNvSpPr>
          <p:nvPr/>
        </p:nvSpPr>
        <p:spPr bwMode="auto">
          <a:xfrm>
            <a:off x="6747337" y="3613538"/>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4" name="Picture 29">
            <a:extLst>
              <a:ext uri="{FF2B5EF4-FFF2-40B4-BE49-F238E27FC236}">
                <a16:creationId xmlns:a16="http://schemas.microsoft.com/office/drawing/2014/main" id="{361E526E-4315-477F-8471-E2AFDE2A8DF9}"/>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396" t="-4" r="1227"/>
          <a:stretch/>
        </p:blipFill>
        <p:spPr>
          <a:xfrm>
            <a:off x="1461843" y="1701874"/>
            <a:ext cx="675330" cy="945000"/>
          </a:xfrm>
          <a:prstGeom prst="rect">
            <a:avLst/>
          </a:prstGeom>
        </p:spPr>
      </p:pic>
      <p:pic>
        <p:nvPicPr>
          <p:cNvPr id="35" name="Picture 6">
            <a:extLst>
              <a:ext uri="{FF2B5EF4-FFF2-40B4-BE49-F238E27FC236}">
                <a16:creationId xmlns:a16="http://schemas.microsoft.com/office/drawing/2014/main" id="{662B77F2-F2AA-4A63-B10F-77124C223AE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69712" y="3440242"/>
            <a:ext cx="659593" cy="945000"/>
          </a:xfrm>
          <a:prstGeom prst="rect">
            <a:avLst/>
          </a:prstGeom>
        </p:spPr>
      </p:pic>
      <p:sp>
        <p:nvSpPr>
          <p:cNvPr id="36" name="Left Brace 20">
            <a:extLst>
              <a:ext uri="{FF2B5EF4-FFF2-40B4-BE49-F238E27FC236}">
                <a16:creationId xmlns:a16="http://schemas.microsoft.com/office/drawing/2014/main" id="{E4E6BD15-2EB0-41D2-AF2C-0FF9E4E6C270}"/>
              </a:ext>
              <a:ext uri="{C183D7F6-B498-43B3-948B-1728B52AA6E4}">
                <adec:decorative xmlns:adec="http://schemas.microsoft.com/office/drawing/2017/decorative" val="1"/>
              </a:ext>
            </a:extLst>
          </p:cNvPr>
          <p:cNvSpPr/>
          <p:nvPr/>
        </p:nvSpPr>
        <p:spPr>
          <a:xfrm>
            <a:off x="5207839" y="1639791"/>
            <a:ext cx="223490" cy="2815210"/>
          </a:xfrm>
          <a:prstGeom prst="leftBrace">
            <a:avLst/>
          </a:prstGeom>
          <a:ln w="28575">
            <a:solidFill>
              <a:srgbClr val="7528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arrow_6">
            <a:extLst>
              <a:ext uri="{FF2B5EF4-FFF2-40B4-BE49-F238E27FC236}">
                <a16:creationId xmlns:a16="http://schemas.microsoft.com/office/drawing/2014/main" id="{4E682E1C-8C6E-42A8-BD0C-BBE27B0B0B19}"/>
              </a:ext>
              <a:ext uri="{C183D7F6-B498-43B3-948B-1728B52AA6E4}">
                <adec:decorative xmlns:adec="http://schemas.microsoft.com/office/drawing/2017/decorative" val="1"/>
              </a:ext>
            </a:extLst>
          </p:cNvPr>
          <p:cNvSpPr>
            <a:spLocks noChangeAspect="1" noEditPoints="1"/>
          </p:cNvSpPr>
          <p:nvPr/>
        </p:nvSpPr>
        <p:spPr bwMode="auto">
          <a:xfrm>
            <a:off x="6766021" y="1860965"/>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grpSp>
        <p:nvGrpSpPr>
          <p:cNvPr id="24" name="Group 23">
            <a:extLst>
              <a:ext uri="{FF2B5EF4-FFF2-40B4-BE49-F238E27FC236}">
                <a16:creationId xmlns:a16="http://schemas.microsoft.com/office/drawing/2014/main" id="{403B1BF5-3E92-4CA1-8FCC-ED01ED46CDFA}"/>
              </a:ext>
              <a:ext uri="{C183D7F6-B498-43B3-948B-1728B52AA6E4}">
                <adec:decorative xmlns:adec="http://schemas.microsoft.com/office/drawing/2017/decorative" val="1"/>
              </a:ext>
            </a:extLst>
          </p:cNvPr>
          <p:cNvGrpSpPr/>
          <p:nvPr/>
        </p:nvGrpSpPr>
        <p:grpSpPr>
          <a:xfrm>
            <a:off x="6756124" y="2709080"/>
            <a:ext cx="330620" cy="327558"/>
            <a:chOff x="4093026" y="2472498"/>
            <a:chExt cx="552547" cy="547431"/>
          </a:xfrm>
        </p:grpSpPr>
        <p:sp>
          <p:nvSpPr>
            <p:cNvPr id="25" name="Rectangle 24">
              <a:extLst>
                <a:ext uri="{FF2B5EF4-FFF2-40B4-BE49-F238E27FC236}">
                  <a16:creationId xmlns:a16="http://schemas.microsoft.com/office/drawing/2014/main" id="{0E214C2F-005C-4E09-BC96-9442C98AF3F4}"/>
                </a:ext>
              </a:extLst>
            </p:cNvPr>
            <p:cNvSpPr/>
            <p:nvPr/>
          </p:nvSpPr>
          <p:spPr bwMode="auto">
            <a:xfrm>
              <a:off x="4093026" y="2506663"/>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9761794C-CADB-45EE-AD9C-7B38C5589CB0}"/>
                </a:ext>
              </a:extLst>
            </p:cNvPr>
            <p:cNvSpPr/>
            <p:nvPr/>
          </p:nvSpPr>
          <p:spPr bwMode="auto">
            <a:xfrm>
              <a:off x="4416485" y="2472498"/>
              <a:ext cx="229088" cy="229088"/>
            </a:xfrm>
            <a:prstGeom prst="rect">
              <a:avLst/>
            </a:prstGeom>
            <a:noFill/>
            <a:ln w="158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306D99A1-95B5-4D34-B664-E8BF4AB124F9}"/>
                </a:ext>
              </a:extLst>
            </p:cNvPr>
            <p:cNvSpPr/>
            <p:nvPr/>
          </p:nvSpPr>
          <p:spPr bwMode="auto">
            <a:xfrm>
              <a:off x="4379165"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3CEA10C-CD27-4884-9145-8855878C9CEE}"/>
                </a:ext>
              </a:extLst>
            </p:cNvPr>
            <p:cNvSpPr/>
            <p:nvPr/>
          </p:nvSpPr>
          <p:spPr bwMode="auto">
            <a:xfrm>
              <a:off x="4093026"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736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AC96E7D-78FD-4792-BFE9-B4FDA763BC75}"/>
              </a:ext>
            </a:extLst>
          </p:cNvPr>
          <p:cNvSpPr>
            <a:spLocks noGrp="1"/>
          </p:cNvSpPr>
          <p:nvPr>
            <p:ph type="title"/>
          </p:nvPr>
        </p:nvSpPr>
        <p:spPr/>
        <p:txBody>
          <a:bodyPr anchor="ctr"/>
          <a:lstStyle/>
          <a:p>
            <a:r>
              <a:rPr lang="en-US" dirty="0"/>
              <a:t>After today…</a:t>
            </a:r>
          </a:p>
        </p:txBody>
      </p:sp>
      <p:sp>
        <p:nvSpPr>
          <p:cNvPr id="2" name="Content Placeholder 1">
            <a:extLst>
              <a:ext uri="{FF2B5EF4-FFF2-40B4-BE49-F238E27FC236}">
                <a16:creationId xmlns:a16="http://schemas.microsoft.com/office/drawing/2014/main" id="{FF721CD8-9EDD-4930-8371-184C99197C3B}"/>
              </a:ext>
            </a:extLst>
          </p:cNvPr>
          <p:cNvSpPr>
            <a:spLocks noGrp="1"/>
          </p:cNvSpPr>
          <p:nvPr>
            <p:ph idx="1"/>
          </p:nvPr>
        </p:nvSpPr>
        <p:spPr>
          <a:xfrm>
            <a:off x="366808" y="1083564"/>
            <a:ext cx="4421216" cy="3077766"/>
          </a:xfrm>
        </p:spPr>
        <p:txBody>
          <a:bodyPr/>
          <a:lstStyle/>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have the confidence to get ahead of adoption in your organization and proactively establish your policies</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understand the tools Microsoft has provided to empower admins, and the background to best use them</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know how to identify your champions, support them, and basics of building your own Center of Excellence</a:t>
            </a:r>
          </a:p>
        </p:txBody>
      </p:sp>
      <p:pic>
        <p:nvPicPr>
          <p:cNvPr id="4" name="Picture 3">
            <a:extLst>
              <a:ext uri="{FF2B5EF4-FFF2-40B4-BE49-F238E27FC236}">
                <a16:creationId xmlns:a16="http://schemas.microsoft.com/office/drawing/2014/main" id="{45B1186D-6C52-409C-97C6-F46C27310AC3}"/>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71397" y="0"/>
            <a:ext cx="4272603" cy="5143500"/>
          </a:xfrm>
          <a:prstGeom prst="rect">
            <a:avLst/>
          </a:prstGeom>
        </p:spPr>
      </p:pic>
    </p:spTree>
    <p:extLst>
      <p:ext uri="{BB962C8B-B14F-4D97-AF65-F5344CB8AC3E}">
        <p14:creationId xmlns:p14="http://schemas.microsoft.com/office/powerpoint/2010/main" val="166411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IMING" val="|0.9|1.2|1.4|2.2"/>
</p:tagLst>
</file>

<file path=ppt/tags/tag4.xml><?xml version="1.0" encoding="utf-8"?>
<p:tagLst xmlns:a="http://schemas.openxmlformats.org/drawingml/2006/main" xmlns:r="http://schemas.openxmlformats.org/officeDocument/2006/relationships" xmlns:p="http://schemas.openxmlformats.org/presentationml/2006/main">
  <p:tag name="TIMING" val="|0.9|1.2|1.4|2.2"/>
</p:tagLst>
</file>

<file path=ppt/theme/theme1.xml><?xml version="1.0" encoding="utf-8"?>
<a:theme xmlns:a="http://schemas.openxmlformats.org/drawingml/2006/main" name="1_Power Platform Template">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2.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_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3C1795788187346AB76A77043A8D3E6" ma:contentTypeVersion="15" ma:contentTypeDescription="Create a new document." ma:contentTypeScope="" ma:versionID="44674666eb4ed31f4ab9d40155aa0781">
  <xsd:schema xmlns:xsd="http://www.w3.org/2001/XMLSchema" xmlns:xs="http://www.w3.org/2001/XMLSchema" xmlns:p="http://schemas.microsoft.com/office/2006/metadata/properties" xmlns:ns1="http://schemas.microsoft.com/sharepoint/v3" xmlns:ns2="413917e0-3c85-4042-b3d6-b66207b014b2" xmlns:ns3="121cbfdf-642d-47d5-bb31-23acd4d6d77c" targetNamespace="http://schemas.microsoft.com/office/2006/metadata/properties" ma:root="true" ma:fieldsID="228616c3723b99adfeaade7cb0a6810e" ns1:_="" ns2:_="" ns3:_="">
    <xsd:import namespace="http://schemas.microsoft.com/sharepoint/v3"/>
    <xsd:import namespace="413917e0-3c85-4042-b3d6-b66207b014b2"/>
    <xsd:import namespace="121cbfdf-642d-47d5-bb31-23acd4d6d77c"/>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3917e0-3c85-4042-b3d6-b66207b014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1cbfdf-642d-47d5-bb31-23acd4d6d77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413917e0-3c85-4042-b3d6-b66207b014b2"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6B6150D-EDAE-4618-A1C3-0676D84DEDE2}">
  <ds:schemaRefs>
    <ds:schemaRef ds:uri="http://schemas.microsoft.com/sharepoint/v3/contenttype/forms"/>
  </ds:schemaRefs>
</ds:datastoreItem>
</file>

<file path=customXml/itemProps2.xml><?xml version="1.0" encoding="utf-8"?>
<ds:datastoreItem xmlns:ds="http://schemas.openxmlformats.org/officeDocument/2006/customXml" ds:itemID="{7985CCBD-9859-4F46-AC7B-FE049DF843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13917e0-3c85-4042-b3d6-b66207b014b2"/>
    <ds:schemaRef ds:uri="121cbfdf-642d-47d5-bb31-23acd4d6d7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45795C-A6D5-4309-9F40-15582C45B66A}">
  <ds:schemaRefs>
    <ds:schemaRef ds:uri="http://purl.org/dc/terms/"/>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purl.org/dc/dcmitype/"/>
    <ds:schemaRef ds:uri="http://schemas.openxmlformats.org/package/2006/metadata/core-properties"/>
    <ds:schemaRef ds:uri="121cbfdf-642d-47d5-bb31-23acd4d6d77c"/>
    <ds:schemaRef ds:uri="413917e0-3c85-4042-b3d6-b66207b014b2"/>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TXFile_SMSGRTemplate16x9Final</Template>
  <TotalTime>997</TotalTime>
  <Words>11146</Words>
  <Application>Microsoft Office PowerPoint</Application>
  <PresentationFormat>On-screen Show (16:9)</PresentationFormat>
  <Paragraphs>1108</Paragraphs>
  <Slides>70</Slides>
  <Notes>56</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70</vt:i4>
      </vt:variant>
    </vt:vector>
  </HeadingPairs>
  <TitlesOfParts>
    <vt:vector size="86" baseType="lpstr">
      <vt:lpstr>Arial</vt:lpstr>
      <vt:lpstr>Calibri</vt:lpstr>
      <vt:lpstr>Consolas</vt:lpstr>
      <vt:lpstr>Courier New</vt:lpstr>
      <vt:lpstr>Segoe UI</vt:lpstr>
      <vt:lpstr>Segoe UI Condensed</vt:lpstr>
      <vt:lpstr>Segoe UI Light</vt:lpstr>
      <vt:lpstr>Segoe UI Semibold</vt:lpstr>
      <vt:lpstr>Segoe UI Semilight</vt:lpstr>
      <vt:lpstr>Wingdings</vt:lpstr>
      <vt:lpstr>1_Power Platform Template</vt:lpstr>
      <vt:lpstr>9-51120_Microsoft_Ready_Template_Light</vt:lpstr>
      <vt:lpstr>1_Dynamics 365</vt:lpstr>
      <vt:lpstr>3_Microsoft 365 PPT Template - 2018</vt:lpstr>
      <vt:lpstr>1_9-51120_Microsoft_Ready_Template_Light</vt:lpstr>
      <vt:lpstr>think-cell Slide</vt:lpstr>
      <vt:lpstr>Admin Overview</vt:lpstr>
      <vt:lpstr>Microsoft Power Platform</vt:lpstr>
      <vt:lpstr>Take advantage of the opportunities together</vt:lpstr>
      <vt:lpstr>A platform for all makers</vt:lpstr>
      <vt:lpstr>Typical admin concerns</vt:lpstr>
      <vt:lpstr>Who are we talking about?  </vt:lpstr>
      <vt:lpstr>Our Philosophy</vt:lpstr>
      <vt:lpstr>Our philosophy includes Governance</vt:lpstr>
      <vt:lpstr>After today…</vt:lpstr>
      <vt:lpstr>Governance – Practically Applied</vt:lpstr>
      <vt:lpstr>Governance – Practically Applied</vt:lpstr>
      <vt:lpstr>Who is building solutions with Power Platform?</vt:lpstr>
      <vt:lpstr>And where do apps and flows come from?</vt:lpstr>
      <vt:lpstr>Self Service Purchase</vt:lpstr>
      <vt:lpstr>Which portal to use for what?</vt:lpstr>
      <vt:lpstr>Understand layers of security</vt:lpstr>
      <vt:lpstr>Trust built in at every level</vt:lpstr>
      <vt:lpstr>Security is built into every layer of the stack.</vt:lpstr>
      <vt:lpstr>PowerPoint Presentation</vt:lpstr>
      <vt:lpstr>PowerPoint Presentation</vt:lpstr>
      <vt:lpstr>Identity management with Azure Active Directory</vt:lpstr>
      <vt:lpstr>Tenant access AAD Based</vt:lpstr>
      <vt:lpstr>Tenant level service admin roles</vt:lpstr>
      <vt:lpstr>Cross-tenant inbound &amp; outbound restrictions</vt:lpstr>
      <vt:lpstr>Cross Tenant Access – Allow inbound</vt:lpstr>
      <vt:lpstr>Cross Tenant Access – Allow outbound</vt:lpstr>
      <vt:lpstr>Cross-tenant inbound &amp; outbound restrictions</vt:lpstr>
      <vt:lpstr>PowerPoint Presentation</vt:lpstr>
      <vt:lpstr>PowerPoint Presentation</vt:lpstr>
      <vt:lpstr>PowerPoint Presentation</vt:lpstr>
      <vt:lpstr>Manage your environments in the Power Platform admin center</vt:lpstr>
      <vt:lpstr>Environment</vt:lpstr>
      <vt:lpstr>Types of Environments (Learn more here)</vt:lpstr>
      <vt:lpstr>Default Environment</vt:lpstr>
      <vt:lpstr>PowerPoint Presentation</vt:lpstr>
      <vt:lpstr>PowerPoint Presentation</vt:lpstr>
      <vt:lpstr>Cutom environments</vt:lpstr>
      <vt:lpstr>PowerPoint Presentation</vt:lpstr>
      <vt:lpstr>Clearly communicate your strategy to your makers</vt:lpstr>
      <vt:lpstr>Environment security and access control</vt:lpstr>
      <vt:lpstr>User Access Diags and Troubleshooting </vt:lpstr>
      <vt:lpstr>Security with Dataverse in an environment</vt:lpstr>
      <vt:lpstr>Key out-of-box security roles you need to know</vt:lpstr>
      <vt:lpstr>Customizing Security Roles</vt:lpstr>
      <vt:lpstr>Controlling User Access to Dataverse environments</vt:lpstr>
      <vt:lpstr>PowerPoint Presentation</vt:lpstr>
      <vt:lpstr>PowerPoint Presentation</vt:lpstr>
      <vt:lpstr>Resource level access</vt:lpstr>
      <vt:lpstr>Sharing Component and Granting Data Access</vt:lpstr>
      <vt:lpstr>PowerPoint Presentation</vt:lpstr>
      <vt:lpstr>PowerPoint Presentation</vt:lpstr>
      <vt:lpstr>PowerPoint Presentation</vt:lpstr>
      <vt:lpstr>Data loss prevention key facts</vt:lpstr>
      <vt:lpstr>Tenant and Environment Policies</vt:lpstr>
      <vt:lpstr>PowerPoint Presentation</vt:lpstr>
      <vt:lpstr>PowerPoint Presentation</vt:lpstr>
      <vt:lpstr>PowerPoint Presentation</vt:lpstr>
      <vt:lpstr>DLP Policy Enforcement</vt:lpstr>
      <vt:lpstr>DLP Management Interfaces</vt:lpstr>
      <vt:lpstr>DLP Strategy</vt:lpstr>
      <vt:lpstr>Things to consider with data policies</vt:lpstr>
      <vt:lpstr>PowerPoint Presentation</vt:lpstr>
      <vt:lpstr>PowerPoint Presentation</vt:lpstr>
      <vt:lpstr>Security Roles and Privileges</vt:lpstr>
      <vt:lpstr>Record-level security</vt:lpstr>
      <vt:lpstr>Field level security</vt:lpstr>
      <vt:lpstr>PowerPoint Presentation</vt:lpstr>
      <vt:lpstr>PowerPoint Presentation</vt:lpstr>
      <vt:lpstr>On-prem Gateways: Key Fac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dc:creator>
  <cp:lastModifiedBy>Jenkins</cp:lastModifiedBy>
  <cp:revision>34</cp:revision>
  <dcterms:created xsi:type="dcterms:W3CDTF">2012-07-13T10:00:08Z</dcterms:created>
  <dcterms:modified xsi:type="dcterms:W3CDTF">2022-06-01T00:4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C1795788187346AB76A77043A8D3E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jamesol@microsoft.com</vt:lpwstr>
  </property>
  <property fmtid="{D5CDD505-2E9C-101B-9397-08002B2CF9AE}" pid="6" name="MSIP_Label_f42aa342-8706-4288-bd11-ebb85995028c_SetDate">
    <vt:lpwstr>2019-06-08T04:31:35.127659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38e2f1b-fed6-4341-89c7-6ace584d2baf</vt:lpwstr>
  </property>
  <property fmtid="{D5CDD505-2E9C-101B-9397-08002B2CF9AE}" pid="10" name="MSIP_Label_f42aa342-8706-4288-bd11-ebb85995028c_Extended_MSFT_Method">
    <vt:lpwstr>Manual</vt:lpwstr>
  </property>
  <property fmtid="{D5CDD505-2E9C-101B-9397-08002B2CF9AE}" pid="11" name="Sensitivity">
    <vt:lpwstr>General</vt:lpwstr>
  </property>
</Properties>
</file>